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notesSlides/notesSlide1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tags/tag28.xml" ContentType="application/vnd.openxmlformats-officedocument.presentationml.tags+xml"/>
  <Override PartName="/ppt/notesSlides/notesSlide21.xml" ContentType="application/vnd.openxmlformats-officedocument.presentationml.notesSlide+xml"/>
  <Override PartName="/ppt/tags/tag29.xml" ContentType="application/vnd.openxmlformats-officedocument.presentationml.tags+xml"/>
  <Override PartName="/ppt/notesSlides/notesSlide22.xml" ContentType="application/vnd.openxmlformats-officedocument.presentationml.notesSlide+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notesSlides/notesSlide24.xml" ContentType="application/vnd.openxmlformats-officedocument.presentationml.notesSlide+xml"/>
  <Override PartName="/ppt/tags/tag32.xml" ContentType="application/vnd.openxmlformats-officedocument.presentationml.tags+xml"/>
  <Override PartName="/ppt/notesSlides/notesSlide25.xml" ContentType="application/vnd.openxmlformats-officedocument.presentationml.notesSlide+xml"/>
  <Override PartName="/ppt/tags/tag33.xml" ContentType="application/vnd.openxmlformats-officedocument.presentationml.tags+xml"/>
  <Override PartName="/ppt/notesSlides/notesSlide26.xml" ContentType="application/vnd.openxmlformats-officedocument.presentationml.notesSlide+xml"/>
  <Override PartName="/ppt/tags/tag34.xml" ContentType="application/vnd.openxmlformats-officedocument.presentationml.tags+xml"/>
  <Override PartName="/ppt/notesSlides/notesSlide27.xml" ContentType="application/vnd.openxmlformats-officedocument.presentationml.notesSlide+xml"/>
  <Override PartName="/ppt/tags/tag35.xml" ContentType="application/vnd.openxmlformats-officedocument.presentationml.tags+xml"/>
  <Override PartName="/ppt/notesSlides/notesSlide28.xml" ContentType="application/vnd.openxmlformats-officedocument.presentationml.notesSlide+xml"/>
  <Override PartName="/ppt/tags/tag36.xml" ContentType="application/vnd.openxmlformats-officedocument.presentationml.tags+xml"/>
  <Override PartName="/ppt/notesSlides/notesSlide29.xml" ContentType="application/vnd.openxmlformats-officedocument.presentationml.notesSlide+xml"/>
  <Override PartName="/ppt/tags/tag3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8.xml" ContentType="application/vnd.openxmlformats-officedocument.presentationml.tags+xml"/>
  <Override PartName="/ppt/notesSlides/notesSlide32.xml" ContentType="application/vnd.openxmlformats-officedocument.presentationml.notesSlide+xml"/>
  <Override PartName="/ppt/tags/tag39.xml" ContentType="application/vnd.openxmlformats-officedocument.presentationml.tags+xml"/>
  <Override PartName="/ppt/notesSlides/notesSlide33.xml" ContentType="application/vnd.openxmlformats-officedocument.presentationml.notesSlide+xml"/>
  <Override PartName="/ppt/tags/tag40.xml" ContentType="application/vnd.openxmlformats-officedocument.presentationml.tags+xml"/>
  <Override PartName="/ppt/notesSlides/notesSlide34.xml" ContentType="application/vnd.openxmlformats-officedocument.presentationml.notesSlide+xml"/>
  <Override PartName="/ppt/tags/tag41.xml" ContentType="application/vnd.openxmlformats-officedocument.presentationml.tags+xml"/>
  <Override PartName="/ppt/notesSlides/notesSlide35.xml" ContentType="application/vnd.openxmlformats-officedocument.presentationml.notesSlide+xml"/>
  <Override PartName="/ppt/tags/tag42.xml" ContentType="application/vnd.openxmlformats-officedocument.presentationml.tags+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9"/>
  </p:notesMasterIdLst>
  <p:handoutMasterIdLst>
    <p:handoutMasterId r:id="rId50"/>
  </p:handoutMasterIdLst>
  <p:sldIdLst>
    <p:sldId id="277" r:id="rId2"/>
    <p:sldId id="289" r:id="rId3"/>
    <p:sldId id="314" r:id="rId4"/>
    <p:sldId id="315" r:id="rId5"/>
    <p:sldId id="288" r:id="rId6"/>
    <p:sldId id="296" r:id="rId7"/>
    <p:sldId id="341" r:id="rId8"/>
    <p:sldId id="344" r:id="rId9"/>
    <p:sldId id="342" r:id="rId10"/>
    <p:sldId id="340" r:id="rId11"/>
    <p:sldId id="343" r:id="rId12"/>
    <p:sldId id="333" r:id="rId13"/>
    <p:sldId id="337" r:id="rId14"/>
    <p:sldId id="307" r:id="rId15"/>
    <p:sldId id="301" r:id="rId16"/>
    <p:sldId id="302" r:id="rId17"/>
    <p:sldId id="283" r:id="rId18"/>
    <p:sldId id="309" r:id="rId19"/>
    <p:sldId id="334" r:id="rId20"/>
    <p:sldId id="308" r:id="rId21"/>
    <p:sldId id="303" r:id="rId22"/>
    <p:sldId id="310" r:id="rId23"/>
    <p:sldId id="304" r:id="rId24"/>
    <p:sldId id="311" r:id="rId25"/>
    <p:sldId id="305" r:id="rId26"/>
    <p:sldId id="312" r:id="rId27"/>
    <p:sldId id="306" r:id="rId28"/>
    <p:sldId id="313" r:id="rId29"/>
    <p:sldId id="320" r:id="rId30"/>
    <p:sldId id="322" r:id="rId31"/>
    <p:sldId id="323" r:id="rId32"/>
    <p:sldId id="321" r:id="rId33"/>
    <p:sldId id="324" r:id="rId34"/>
    <p:sldId id="325" r:id="rId35"/>
    <p:sldId id="326" r:id="rId36"/>
    <p:sldId id="327" r:id="rId37"/>
    <p:sldId id="328" r:id="rId38"/>
    <p:sldId id="329" r:id="rId39"/>
    <p:sldId id="330" r:id="rId40"/>
    <p:sldId id="331" r:id="rId41"/>
    <p:sldId id="346" r:id="rId42"/>
    <p:sldId id="260" r:id="rId43"/>
    <p:sldId id="345" r:id="rId44"/>
    <p:sldId id="316" r:id="rId45"/>
    <p:sldId id="317" r:id="rId46"/>
    <p:sldId id="319" r:id="rId47"/>
    <p:sldId id="318" r:id="rId48"/>
  </p:sldIdLst>
  <p:sldSz cx="12192000" cy="6858000"/>
  <p:notesSz cx="6858000" cy="9144000"/>
  <p:custDataLst>
    <p:tags r:id="rId51"/>
  </p:custDataLst>
  <p:defaultTextStyle>
    <a:defPPr rtl="0">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64" userDrawn="1">
          <p15:clr>
            <a:srgbClr val="A4A3A4"/>
          </p15:clr>
        </p15:guide>
        <p15:guide id="3" pos="408" userDrawn="1">
          <p15:clr>
            <a:srgbClr val="A4A3A4"/>
          </p15:clr>
        </p15:guide>
        <p15:guide id="4" orient="horz" pos="432" userDrawn="1">
          <p15:clr>
            <a:srgbClr val="A4A3A4"/>
          </p15:clr>
        </p15:guide>
        <p15:guide id="5" pos="727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606E"/>
    <a:srgbClr val="0D3047"/>
    <a:srgbClr val="0B2B41"/>
    <a:srgbClr val="114263"/>
    <a:srgbClr val="401918"/>
    <a:srgbClr val="731F1C"/>
    <a:srgbClr val="AB678E"/>
    <a:srgbClr val="CA929B"/>
    <a:srgbClr val="248CD2"/>
    <a:srgbClr val="C88E9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E8B1032C-EA38-4F05-BA0D-38AFFFC7BED3}">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55" autoAdjust="0"/>
    <p:restoredTop sz="92308" autoAdjust="0"/>
  </p:normalViewPr>
  <p:slideViewPr>
    <p:cSldViewPr snapToGrid="0">
      <p:cViewPr>
        <p:scale>
          <a:sx n="75" d="100"/>
          <a:sy n="75" d="100"/>
        </p:scale>
        <p:origin x="580" y="-324"/>
      </p:cViewPr>
      <p:guideLst>
        <p:guide orient="horz" pos="2160"/>
        <p:guide pos="3864"/>
        <p:guide pos="408"/>
        <p:guide orient="horz" pos="432"/>
        <p:guide pos="7272"/>
      </p:guideLst>
    </p:cSldViewPr>
  </p:slideViewPr>
  <p:notesTextViewPr>
    <p:cViewPr>
      <p:scale>
        <a:sx n="1" d="1"/>
        <a:sy n="1" d="1"/>
      </p:scale>
      <p:origin x="0" y="0"/>
    </p:cViewPr>
  </p:notesTextViewPr>
  <p:notesViewPr>
    <p:cSldViewPr snapToGrid="0">
      <p:cViewPr varScale="1">
        <p:scale>
          <a:sx n="93" d="100"/>
          <a:sy n="93" d="100"/>
        </p:scale>
        <p:origin x="370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tags" Target="tags/tag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EA27B0-E7A2-4E29-8E0D-62BE383685E4}" type="doc">
      <dgm:prSet loTypeId="urn:microsoft.com/office/officeart/2005/8/layout/list1" loCatId="list" qsTypeId="urn:microsoft.com/office/officeart/2005/8/quickstyle/simple1" qsCatId="simple" csTypeId="urn:microsoft.com/office/officeart/2005/8/colors/accent1_2" csCatId="accent1" phldr="1"/>
      <dgm:spPr/>
    </dgm:pt>
    <dgm:pt modelId="{AB369FA7-9D3F-495F-8C9A-D3CA90E31754}">
      <dgm:prSet phldrT="[Testo]"/>
      <dgm:spPr/>
      <dgm:t>
        <a:bodyPr/>
        <a:lstStyle/>
        <a:p>
          <a:r>
            <a:rPr lang="it-IT" dirty="0"/>
            <a:t>ESPERIENZA</a:t>
          </a:r>
        </a:p>
      </dgm:t>
    </dgm:pt>
    <dgm:pt modelId="{DDB74474-20A7-4EBD-8700-11BA2BA8E255}" type="parTrans" cxnId="{BA575EB3-940F-40AC-91E5-7674C1E1860B}">
      <dgm:prSet/>
      <dgm:spPr/>
      <dgm:t>
        <a:bodyPr/>
        <a:lstStyle/>
        <a:p>
          <a:pPr algn="ctr"/>
          <a:endParaRPr lang="it-IT"/>
        </a:p>
      </dgm:t>
    </dgm:pt>
    <dgm:pt modelId="{9EBDEE00-247D-4CDE-B159-58C1BC281E2F}" type="sibTrans" cxnId="{BA575EB3-940F-40AC-91E5-7674C1E1860B}">
      <dgm:prSet/>
      <dgm:spPr/>
      <dgm:t>
        <a:bodyPr/>
        <a:lstStyle/>
        <a:p>
          <a:endParaRPr lang="it-IT"/>
        </a:p>
      </dgm:t>
    </dgm:pt>
    <dgm:pt modelId="{C5942860-F63D-4982-8E46-A1F6CE0BF406}">
      <dgm:prSet phldrT="[Testo]"/>
      <dgm:spPr/>
      <dgm:t>
        <a:bodyPr/>
        <a:lstStyle/>
        <a:p>
          <a:r>
            <a:rPr lang="it-IT" dirty="0"/>
            <a:t>PROGETTO</a:t>
          </a:r>
        </a:p>
      </dgm:t>
    </dgm:pt>
    <dgm:pt modelId="{F7408149-B5F7-41BB-83FC-FE9733E6CC6E}" type="parTrans" cxnId="{F59C6945-1436-42C3-984E-AC6E768AFC84}">
      <dgm:prSet/>
      <dgm:spPr/>
      <dgm:t>
        <a:bodyPr/>
        <a:lstStyle/>
        <a:p>
          <a:pPr algn="ctr"/>
          <a:endParaRPr lang="it-IT"/>
        </a:p>
      </dgm:t>
    </dgm:pt>
    <dgm:pt modelId="{015B648B-2043-43A2-8AA6-574452402A61}" type="sibTrans" cxnId="{F59C6945-1436-42C3-984E-AC6E768AFC84}">
      <dgm:prSet/>
      <dgm:spPr/>
      <dgm:t>
        <a:bodyPr/>
        <a:lstStyle/>
        <a:p>
          <a:endParaRPr lang="it-IT"/>
        </a:p>
      </dgm:t>
    </dgm:pt>
    <dgm:pt modelId="{686D79A9-8247-40B7-834A-036EFEE1DFE2}">
      <dgm:prSet phldrT="[Testo]"/>
      <dgm:spPr/>
      <dgm:t>
        <a:bodyPr/>
        <a:lstStyle/>
        <a:p>
          <a:r>
            <a:rPr lang="it-IT"/>
            <a:t>FLOW</a:t>
          </a:r>
        </a:p>
      </dgm:t>
    </dgm:pt>
    <dgm:pt modelId="{9BC94AB6-D8FC-46F6-AD64-5EB79FC1E0DB}" type="parTrans" cxnId="{CC269A51-28A9-4930-9879-80CD0B1A4724}">
      <dgm:prSet/>
      <dgm:spPr/>
      <dgm:t>
        <a:bodyPr/>
        <a:lstStyle/>
        <a:p>
          <a:pPr algn="ctr"/>
          <a:endParaRPr lang="it-IT"/>
        </a:p>
      </dgm:t>
    </dgm:pt>
    <dgm:pt modelId="{B7C096BD-DC29-4631-A844-4F3B19F917A5}" type="sibTrans" cxnId="{CC269A51-28A9-4930-9879-80CD0B1A4724}">
      <dgm:prSet/>
      <dgm:spPr/>
      <dgm:t>
        <a:bodyPr/>
        <a:lstStyle/>
        <a:p>
          <a:endParaRPr lang="it-IT"/>
        </a:p>
      </dgm:t>
    </dgm:pt>
    <dgm:pt modelId="{7BD2E34E-22C6-4882-99F0-3B66687FCE7B}" type="pres">
      <dgm:prSet presAssocID="{1DEA27B0-E7A2-4E29-8E0D-62BE383685E4}" presName="linear" presStyleCnt="0">
        <dgm:presLayoutVars>
          <dgm:dir/>
          <dgm:animLvl val="lvl"/>
          <dgm:resizeHandles val="exact"/>
        </dgm:presLayoutVars>
      </dgm:prSet>
      <dgm:spPr/>
    </dgm:pt>
    <dgm:pt modelId="{2E28F1BD-2863-4C65-BA29-B4709E0E674F}" type="pres">
      <dgm:prSet presAssocID="{AB369FA7-9D3F-495F-8C9A-D3CA90E31754}" presName="parentLin" presStyleCnt="0"/>
      <dgm:spPr/>
    </dgm:pt>
    <dgm:pt modelId="{0A904CF6-86C2-4C53-A664-86E2618A1DC8}" type="pres">
      <dgm:prSet presAssocID="{AB369FA7-9D3F-495F-8C9A-D3CA90E31754}" presName="parentLeftMargin" presStyleLbl="node1" presStyleIdx="0" presStyleCnt="3"/>
      <dgm:spPr/>
    </dgm:pt>
    <dgm:pt modelId="{CB7EF536-705D-4F51-9B7C-B12F6B8D76B2}" type="pres">
      <dgm:prSet presAssocID="{AB369FA7-9D3F-495F-8C9A-D3CA90E31754}" presName="parentText" presStyleLbl="node1" presStyleIdx="0" presStyleCnt="3">
        <dgm:presLayoutVars>
          <dgm:chMax val="0"/>
          <dgm:bulletEnabled val="1"/>
        </dgm:presLayoutVars>
      </dgm:prSet>
      <dgm:spPr/>
    </dgm:pt>
    <dgm:pt modelId="{0AE6D60C-3FF9-41D0-A614-80360BFB8535}" type="pres">
      <dgm:prSet presAssocID="{AB369FA7-9D3F-495F-8C9A-D3CA90E31754}" presName="negativeSpace" presStyleCnt="0"/>
      <dgm:spPr/>
    </dgm:pt>
    <dgm:pt modelId="{145EAD88-EDEC-4564-893E-C19D78FC4BAC}" type="pres">
      <dgm:prSet presAssocID="{AB369FA7-9D3F-495F-8C9A-D3CA90E31754}" presName="childText" presStyleLbl="conFgAcc1" presStyleIdx="0" presStyleCnt="3">
        <dgm:presLayoutVars>
          <dgm:bulletEnabled val="1"/>
        </dgm:presLayoutVars>
      </dgm:prSet>
      <dgm:spPr/>
    </dgm:pt>
    <dgm:pt modelId="{16EFD6FC-72F6-4DDE-B1CB-CF35DCBA1253}" type="pres">
      <dgm:prSet presAssocID="{9EBDEE00-247D-4CDE-B159-58C1BC281E2F}" presName="spaceBetweenRectangles" presStyleCnt="0"/>
      <dgm:spPr/>
    </dgm:pt>
    <dgm:pt modelId="{32554B66-3EC7-46D3-AE85-4AA5CD815FFA}" type="pres">
      <dgm:prSet presAssocID="{C5942860-F63D-4982-8E46-A1F6CE0BF406}" presName="parentLin" presStyleCnt="0"/>
      <dgm:spPr/>
    </dgm:pt>
    <dgm:pt modelId="{7B5FE5E2-D3BE-4DD9-8322-0C71E4F1933F}" type="pres">
      <dgm:prSet presAssocID="{C5942860-F63D-4982-8E46-A1F6CE0BF406}" presName="parentLeftMargin" presStyleLbl="node1" presStyleIdx="0" presStyleCnt="3"/>
      <dgm:spPr/>
    </dgm:pt>
    <dgm:pt modelId="{3D3FEEDE-5330-47CA-8615-75FFA4761CD4}" type="pres">
      <dgm:prSet presAssocID="{C5942860-F63D-4982-8E46-A1F6CE0BF406}" presName="parentText" presStyleLbl="node1" presStyleIdx="1" presStyleCnt="3">
        <dgm:presLayoutVars>
          <dgm:chMax val="0"/>
          <dgm:bulletEnabled val="1"/>
        </dgm:presLayoutVars>
      </dgm:prSet>
      <dgm:spPr/>
    </dgm:pt>
    <dgm:pt modelId="{7D2CF812-5CB9-479E-9954-7BE22F747A9F}" type="pres">
      <dgm:prSet presAssocID="{C5942860-F63D-4982-8E46-A1F6CE0BF406}" presName="negativeSpace" presStyleCnt="0"/>
      <dgm:spPr/>
    </dgm:pt>
    <dgm:pt modelId="{0270037D-ACB8-45E0-9F1D-18A432B6A89B}" type="pres">
      <dgm:prSet presAssocID="{C5942860-F63D-4982-8E46-A1F6CE0BF406}" presName="childText" presStyleLbl="conFgAcc1" presStyleIdx="1" presStyleCnt="3">
        <dgm:presLayoutVars>
          <dgm:bulletEnabled val="1"/>
        </dgm:presLayoutVars>
      </dgm:prSet>
      <dgm:spPr/>
    </dgm:pt>
    <dgm:pt modelId="{2F7B309D-4DB3-4681-97C1-3A776F205C9D}" type="pres">
      <dgm:prSet presAssocID="{015B648B-2043-43A2-8AA6-574452402A61}" presName="spaceBetweenRectangles" presStyleCnt="0"/>
      <dgm:spPr/>
    </dgm:pt>
    <dgm:pt modelId="{79E6E199-1485-4AA4-9B68-F4DFE55BA5C2}" type="pres">
      <dgm:prSet presAssocID="{686D79A9-8247-40B7-834A-036EFEE1DFE2}" presName="parentLin" presStyleCnt="0"/>
      <dgm:spPr/>
    </dgm:pt>
    <dgm:pt modelId="{5A70E6EF-E352-4DD4-B463-7BBB517F506E}" type="pres">
      <dgm:prSet presAssocID="{686D79A9-8247-40B7-834A-036EFEE1DFE2}" presName="parentLeftMargin" presStyleLbl="node1" presStyleIdx="1" presStyleCnt="3"/>
      <dgm:spPr/>
    </dgm:pt>
    <dgm:pt modelId="{581FBAE2-E695-4F6F-8217-4CB817C42C86}" type="pres">
      <dgm:prSet presAssocID="{686D79A9-8247-40B7-834A-036EFEE1DFE2}" presName="parentText" presStyleLbl="node1" presStyleIdx="2" presStyleCnt="3">
        <dgm:presLayoutVars>
          <dgm:chMax val="0"/>
          <dgm:bulletEnabled val="1"/>
        </dgm:presLayoutVars>
      </dgm:prSet>
      <dgm:spPr/>
    </dgm:pt>
    <dgm:pt modelId="{675F9D69-8FC3-4EEE-87EA-29431813EAC9}" type="pres">
      <dgm:prSet presAssocID="{686D79A9-8247-40B7-834A-036EFEE1DFE2}" presName="negativeSpace" presStyleCnt="0"/>
      <dgm:spPr/>
    </dgm:pt>
    <dgm:pt modelId="{65B21E40-B5BE-4C3E-B1A5-D1E2F760FC44}" type="pres">
      <dgm:prSet presAssocID="{686D79A9-8247-40B7-834A-036EFEE1DFE2}" presName="childText" presStyleLbl="conFgAcc1" presStyleIdx="2" presStyleCnt="3">
        <dgm:presLayoutVars>
          <dgm:bulletEnabled val="1"/>
        </dgm:presLayoutVars>
      </dgm:prSet>
      <dgm:spPr/>
    </dgm:pt>
  </dgm:ptLst>
  <dgm:cxnLst>
    <dgm:cxn modelId="{2A2D481C-CEDE-43F3-BA7E-DC6889F63309}" type="presOf" srcId="{AB369FA7-9D3F-495F-8C9A-D3CA90E31754}" destId="{CB7EF536-705D-4F51-9B7C-B12F6B8D76B2}" srcOrd="1" destOrd="0" presId="urn:microsoft.com/office/officeart/2005/8/layout/list1"/>
    <dgm:cxn modelId="{F59C6945-1436-42C3-984E-AC6E768AFC84}" srcId="{1DEA27B0-E7A2-4E29-8E0D-62BE383685E4}" destId="{C5942860-F63D-4982-8E46-A1F6CE0BF406}" srcOrd="1" destOrd="0" parTransId="{F7408149-B5F7-41BB-83FC-FE9733E6CC6E}" sibTransId="{015B648B-2043-43A2-8AA6-574452402A61}"/>
    <dgm:cxn modelId="{CC269A51-28A9-4930-9879-80CD0B1A4724}" srcId="{1DEA27B0-E7A2-4E29-8E0D-62BE383685E4}" destId="{686D79A9-8247-40B7-834A-036EFEE1DFE2}" srcOrd="2" destOrd="0" parTransId="{9BC94AB6-D8FC-46F6-AD64-5EB79FC1E0DB}" sibTransId="{B7C096BD-DC29-4631-A844-4F3B19F917A5}"/>
    <dgm:cxn modelId="{0C3FAEA4-CDE2-4147-A002-EBEB66A94C34}" type="presOf" srcId="{686D79A9-8247-40B7-834A-036EFEE1DFE2}" destId="{581FBAE2-E695-4F6F-8217-4CB817C42C86}" srcOrd="1" destOrd="0" presId="urn:microsoft.com/office/officeart/2005/8/layout/list1"/>
    <dgm:cxn modelId="{BA575EB3-940F-40AC-91E5-7674C1E1860B}" srcId="{1DEA27B0-E7A2-4E29-8E0D-62BE383685E4}" destId="{AB369FA7-9D3F-495F-8C9A-D3CA90E31754}" srcOrd="0" destOrd="0" parTransId="{DDB74474-20A7-4EBD-8700-11BA2BA8E255}" sibTransId="{9EBDEE00-247D-4CDE-B159-58C1BC281E2F}"/>
    <dgm:cxn modelId="{9C0223BB-C20F-4D70-8AC8-CB2D86BEC5A9}" type="presOf" srcId="{C5942860-F63D-4982-8E46-A1F6CE0BF406}" destId="{7B5FE5E2-D3BE-4DD9-8322-0C71E4F1933F}" srcOrd="0" destOrd="0" presId="urn:microsoft.com/office/officeart/2005/8/layout/list1"/>
    <dgm:cxn modelId="{4F34C1C6-700E-4139-853A-5AFAC07E9DB3}" type="presOf" srcId="{C5942860-F63D-4982-8E46-A1F6CE0BF406}" destId="{3D3FEEDE-5330-47CA-8615-75FFA4761CD4}" srcOrd="1" destOrd="0" presId="urn:microsoft.com/office/officeart/2005/8/layout/list1"/>
    <dgm:cxn modelId="{E99557E4-A826-44A2-B255-561AAA08EB66}" type="presOf" srcId="{686D79A9-8247-40B7-834A-036EFEE1DFE2}" destId="{5A70E6EF-E352-4DD4-B463-7BBB517F506E}" srcOrd="0" destOrd="0" presId="urn:microsoft.com/office/officeart/2005/8/layout/list1"/>
    <dgm:cxn modelId="{5D5675EC-8958-4821-B1A2-BE678436B5CC}" type="presOf" srcId="{1DEA27B0-E7A2-4E29-8E0D-62BE383685E4}" destId="{7BD2E34E-22C6-4882-99F0-3B66687FCE7B}" srcOrd="0" destOrd="0" presId="urn:microsoft.com/office/officeart/2005/8/layout/list1"/>
    <dgm:cxn modelId="{63B772F8-0ECC-4ABC-9B72-F2645B386784}" type="presOf" srcId="{AB369FA7-9D3F-495F-8C9A-D3CA90E31754}" destId="{0A904CF6-86C2-4C53-A664-86E2618A1DC8}" srcOrd="0" destOrd="0" presId="urn:microsoft.com/office/officeart/2005/8/layout/list1"/>
    <dgm:cxn modelId="{70F21C7D-AFAB-43B7-A2FA-95318337E0B8}" type="presParOf" srcId="{7BD2E34E-22C6-4882-99F0-3B66687FCE7B}" destId="{2E28F1BD-2863-4C65-BA29-B4709E0E674F}" srcOrd="0" destOrd="0" presId="urn:microsoft.com/office/officeart/2005/8/layout/list1"/>
    <dgm:cxn modelId="{CFFD168F-3434-4DAC-9F63-2BE89F3C216D}" type="presParOf" srcId="{2E28F1BD-2863-4C65-BA29-B4709E0E674F}" destId="{0A904CF6-86C2-4C53-A664-86E2618A1DC8}" srcOrd="0" destOrd="0" presId="urn:microsoft.com/office/officeart/2005/8/layout/list1"/>
    <dgm:cxn modelId="{0B98E57B-292D-4278-BAF2-FA954307CFD9}" type="presParOf" srcId="{2E28F1BD-2863-4C65-BA29-B4709E0E674F}" destId="{CB7EF536-705D-4F51-9B7C-B12F6B8D76B2}" srcOrd="1" destOrd="0" presId="urn:microsoft.com/office/officeart/2005/8/layout/list1"/>
    <dgm:cxn modelId="{5C46EFFF-165A-4C4C-B96A-8C65C9AF730C}" type="presParOf" srcId="{7BD2E34E-22C6-4882-99F0-3B66687FCE7B}" destId="{0AE6D60C-3FF9-41D0-A614-80360BFB8535}" srcOrd="1" destOrd="0" presId="urn:microsoft.com/office/officeart/2005/8/layout/list1"/>
    <dgm:cxn modelId="{C84F45A4-4E67-46DB-BC12-70C1F74F0B0E}" type="presParOf" srcId="{7BD2E34E-22C6-4882-99F0-3B66687FCE7B}" destId="{145EAD88-EDEC-4564-893E-C19D78FC4BAC}" srcOrd="2" destOrd="0" presId="urn:microsoft.com/office/officeart/2005/8/layout/list1"/>
    <dgm:cxn modelId="{CF86164C-7E3F-4143-A85F-C3EC6E94BDFE}" type="presParOf" srcId="{7BD2E34E-22C6-4882-99F0-3B66687FCE7B}" destId="{16EFD6FC-72F6-4DDE-B1CB-CF35DCBA1253}" srcOrd="3" destOrd="0" presId="urn:microsoft.com/office/officeart/2005/8/layout/list1"/>
    <dgm:cxn modelId="{409F6564-0302-4186-A709-AAEFE58E6D07}" type="presParOf" srcId="{7BD2E34E-22C6-4882-99F0-3B66687FCE7B}" destId="{32554B66-3EC7-46D3-AE85-4AA5CD815FFA}" srcOrd="4" destOrd="0" presId="urn:microsoft.com/office/officeart/2005/8/layout/list1"/>
    <dgm:cxn modelId="{93BC84F9-7163-498D-9C2C-E7C9DB852C4C}" type="presParOf" srcId="{32554B66-3EC7-46D3-AE85-4AA5CD815FFA}" destId="{7B5FE5E2-D3BE-4DD9-8322-0C71E4F1933F}" srcOrd="0" destOrd="0" presId="urn:microsoft.com/office/officeart/2005/8/layout/list1"/>
    <dgm:cxn modelId="{DE195588-4067-4A7D-903B-7522BEDB97E1}" type="presParOf" srcId="{32554B66-3EC7-46D3-AE85-4AA5CD815FFA}" destId="{3D3FEEDE-5330-47CA-8615-75FFA4761CD4}" srcOrd="1" destOrd="0" presId="urn:microsoft.com/office/officeart/2005/8/layout/list1"/>
    <dgm:cxn modelId="{CA5DF0F5-F164-4FD4-8708-830D5D7DD894}" type="presParOf" srcId="{7BD2E34E-22C6-4882-99F0-3B66687FCE7B}" destId="{7D2CF812-5CB9-479E-9954-7BE22F747A9F}" srcOrd="5" destOrd="0" presId="urn:microsoft.com/office/officeart/2005/8/layout/list1"/>
    <dgm:cxn modelId="{18C57826-AD8D-416F-BEFD-989E2D81A478}" type="presParOf" srcId="{7BD2E34E-22C6-4882-99F0-3B66687FCE7B}" destId="{0270037D-ACB8-45E0-9F1D-18A432B6A89B}" srcOrd="6" destOrd="0" presId="urn:microsoft.com/office/officeart/2005/8/layout/list1"/>
    <dgm:cxn modelId="{1AF7163E-F0AF-42B7-A62F-6C46909FA971}" type="presParOf" srcId="{7BD2E34E-22C6-4882-99F0-3B66687FCE7B}" destId="{2F7B309D-4DB3-4681-97C1-3A776F205C9D}" srcOrd="7" destOrd="0" presId="urn:microsoft.com/office/officeart/2005/8/layout/list1"/>
    <dgm:cxn modelId="{56E53476-9857-4D6C-B6EB-C31B1B039C45}" type="presParOf" srcId="{7BD2E34E-22C6-4882-99F0-3B66687FCE7B}" destId="{79E6E199-1485-4AA4-9B68-F4DFE55BA5C2}" srcOrd="8" destOrd="0" presId="urn:microsoft.com/office/officeart/2005/8/layout/list1"/>
    <dgm:cxn modelId="{97FBB76C-2216-4E1B-A6EF-76B60A94345E}" type="presParOf" srcId="{79E6E199-1485-4AA4-9B68-F4DFE55BA5C2}" destId="{5A70E6EF-E352-4DD4-B463-7BBB517F506E}" srcOrd="0" destOrd="0" presId="urn:microsoft.com/office/officeart/2005/8/layout/list1"/>
    <dgm:cxn modelId="{30232C6F-CCC3-40FC-AF99-A91288BAC4CA}" type="presParOf" srcId="{79E6E199-1485-4AA4-9B68-F4DFE55BA5C2}" destId="{581FBAE2-E695-4F6F-8217-4CB817C42C86}" srcOrd="1" destOrd="0" presId="urn:microsoft.com/office/officeart/2005/8/layout/list1"/>
    <dgm:cxn modelId="{3883799D-88BA-417A-A3EF-F21DEB632A44}" type="presParOf" srcId="{7BD2E34E-22C6-4882-99F0-3B66687FCE7B}" destId="{675F9D69-8FC3-4EEE-87EA-29431813EAC9}" srcOrd="9" destOrd="0" presId="urn:microsoft.com/office/officeart/2005/8/layout/list1"/>
    <dgm:cxn modelId="{D7533B59-5486-43AD-971C-43FBD5FC4717}" type="presParOf" srcId="{7BD2E34E-22C6-4882-99F0-3B66687FCE7B}" destId="{65B21E40-B5BE-4C3E-B1A5-D1E2F760FC44}" srcOrd="10"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5EAD88-EDEC-4564-893E-C19D78FC4BAC}">
      <dsp:nvSpPr>
        <dsp:cNvPr id="0" name=""/>
        <dsp:cNvSpPr/>
      </dsp:nvSpPr>
      <dsp:spPr>
        <a:xfrm>
          <a:off x="0" y="350014"/>
          <a:ext cx="3559691" cy="529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B7EF536-705D-4F51-9B7C-B12F6B8D76B2}">
      <dsp:nvSpPr>
        <dsp:cNvPr id="0" name=""/>
        <dsp:cNvSpPr/>
      </dsp:nvSpPr>
      <dsp:spPr>
        <a:xfrm>
          <a:off x="177984" y="40054"/>
          <a:ext cx="2491783" cy="619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183" tIns="0" rIns="94183" bIns="0" numCol="1" spcCol="1270" anchor="ctr" anchorCtr="0">
          <a:noAutofit/>
        </a:bodyPr>
        <a:lstStyle/>
        <a:p>
          <a:pPr marL="0" lvl="0" indent="0" algn="l" defTabSz="933450">
            <a:lnSpc>
              <a:spcPct val="90000"/>
            </a:lnSpc>
            <a:spcBef>
              <a:spcPct val="0"/>
            </a:spcBef>
            <a:spcAft>
              <a:spcPct val="35000"/>
            </a:spcAft>
            <a:buNone/>
          </a:pPr>
          <a:r>
            <a:rPr lang="it-IT" sz="2100" kern="1200" dirty="0"/>
            <a:t>ESPERIENZA</a:t>
          </a:r>
        </a:p>
      </dsp:txBody>
      <dsp:txXfrm>
        <a:off x="208246" y="70316"/>
        <a:ext cx="2431259" cy="559396"/>
      </dsp:txXfrm>
    </dsp:sp>
    <dsp:sp modelId="{0270037D-ACB8-45E0-9F1D-18A432B6A89B}">
      <dsp:nvSpPr>
        <dsp:cNvPr id="0" name=""/>
        <dsp:cNvSpPr/>
      </dsp:nvSpPr>
      <dsp:spPr>
        <a:xfrm>
          <a:off x="0" y="1302575"/>
          <a:ext cx="3559691" cy="529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D3FEEDE-5330-47CA-8615-75FFA4761CD4}">
      <dsp:nvSpPr>
        <dsp:cNvPr id="0" name=""/>
        <dsp:cNvSpPr/>
      </dsp:nvSpPr>
      <dsp:spPr>
        <a:xfrm>
          <a:off x="177984" y="992614"/>
          <a:ext cx="2491783" cy="619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183" tIns="0" rIns="94183" bIns="0" numCol="1" spcCol="1270" anchor="ctr" anchorCtr="0">
          <a:noAutofit/>
        </a:bodyPr>
        <a:lstStyle/>
        <a:p>
          <a:pPr marL="0" lvl="0" indent="0" algn="l" defTabSz="933450">
            <a:lnSpc>
              <a:spcPct val="90000"/>
            </a:lnSpc>
            <a:spcBef>
              <a:spcPct val="0"/>
            </a:spcBef>
            <a:spcAft>
              <a:spcPct val="35000"/>
            </a:spcAft>
            <a:buNone/>
          </a:pPr>
          <a:r>
            <a:rPr lang="it-IT" sz="2100" kern="1200" dirty="0"/>
            <a:t>PROGETTO</a:t>
          </a:r>
        </a:p>
      </dsp:txBody>
      <dsp:txXfrm>
        <a:off x="208246" y="1022876"/>
        <a:ext cx="2431259" cy="559396"/>
      </dsp:txXfrm>
    </dsp:sp>
    <dsp:sp modelId="{65B21E40-B5BE-4C3E-B1A5-D1E2F760FC44}">
      <dsp:nvSpPr>
        <dsp:cNvPr id="0" name=""/>
        <dsp:cNvSpPr/>
      </dsp:nvSpPr>
      <dsp:spPr>
        <a:xfrm>
          <a:off x="0" y="2255135"/>
          <a:ext cx="3559691" cy="5292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81FBAE2-E695-4F6F-8217-4CB817C42C86}">
      <dsp:nvSpPr>
        <dsp:cNvPr id="0" name=""/>
        <dsp:cNvSpPr/>
      </dsp:nvSpPr>
      <dsp:spPr>
        <a:xfrm>
          <a:off x="177984" y="1945175"/>
          <a:ext cx="2491783" cy="6199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4183" tIns="0" rIns="94183" bIns="0" numCol="1" spcCol="1270" anchor="ctr" anchorCtr="0">
          <a:noAutofit/>
        </a:bodyPr>
        <a:lstStyle/>
        <a:p>
          <a:pPr marL="0" lvl="0" indent="0" algn="l" defTabSz="933450">
            <a:lnSpc>
              <a:spcPct val="90000"/>
            </a:lnSpc>
            <a:spcBef>
              <a:spcPct val="0"/>
            </a:spcBef>
            <a:spcAft>
              <a:spcPct val="35000"/>
            </a:spcAft>
            <a:buNone/>
          </a:pPr>
          <a:r>
            <a:rPr lang="it-IT" sz="2100" kern="1200"/>
            <a:t>FLOW</a:t>
          </a:r>
        </a:p>
      </dsp:txBody>
      <dsp:txXfrm>
        <a:off x="208246" y="1975437"/>
        <a:ext cx="2431259" cy="559396"/>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a:extLst>
              <a:ext uri="{FF2B5EF4-FFF2-40B4-BE49-F238E27FC236}">
                <a16:creationId xmlns:a16="http://schemas.microsoft.com/office/drawing/2014/main" id="{F3D1D01A-5516-4E1C-9A6D-D9EF8C203FB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it-IT"/>
          </a:p>
        </p:txBody>
      </p:sp>
      <p:sp>
        <p:nvSpPr>
          <p:cNvPr id="3" name="Segnaposto data 2">
            <a:extLst>
              <a:ext uri="{FF2B5EF4-FFF2-40B4-BE49-F238E27FC236}">
                <a16:creationId xmlns:a16="http://schemas.microsoft.com/office/drawing/2014/main" id="{B0087A2D-9F8F-45E9-B127-C2407E79536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F6DB5C30-03E1-47FB-94EB-84155F875BE6}" type="datetime1">
              <a:rPr lang="it-IT" smtClean="0"/>
              <a:t>23/07/2023</a:t>
            </a:fld>
            <a:endParaRPr lang="it-IT"/>
          </a:p>
        </p:txBody>
      </p:sp>
      <p:sp>
        <p:nvSpPr>
          <p:cNvPr id="4" name="Segnaposto piè di pagina 3">
            <a:extLst>
              <a:ext uri="{FF2B5EF4-FFF2-40B4-BE49-F238E27FC236}">
                <a16:creationId xmlns:a16="http://schemas.microsoft.com/office/drawing/2014/main" id="{60515058-9F03-4AC5-A723-3D23E277200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it-IT"/>
          </a:p>
        </p:txBody>
      </p:sp>
      <p:sp>
        <p:nvSpPr>
          <p:cNvPr id="5" name="Segnaposto numero diapositiva 4">
            <a:extLst>
              <a:ext uri="{FF2B5EF4-FFF2-40B4-BE49-F238E27FC236}">
                <a16:creationId xmlns:a16="http://schemas.microsoft.com/office/drawing/2014/main" id="{986E583C-77B5-479A-A9CA-17DC816BC65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7F3D57C9-54A6-4BAA-A5CD-C535F9370C4B}" type="slidenum">
              <a:rPr lang="it-IT" smtClean="0"/>
              <a:t>‹N›</a:t>
            </a:fld>
            <a:endParaRPr lang="it-IT"/>
          </a:p>
        </p:txBody>
      </p:sp>
    </p:spTree>
    <p:extLst>
      <p:ext uri="{BB962C8B-B14F-4D97-AF65-F5344CB8AC3E}">
        <p14:creationId xmlns:p14="http://schemas.microsoft.com/office/powerpoint/2010/main" val="21203655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it-IT" noProof="0"/>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8D6ABC1F-E416-4E92-AC39-0A671F75FDED}" type="datetime1">
              <a:rPr lang="it-IT" noProof="0" smtClean="0"/>
              <a:t>23/07/2023</a:t>
            </a:fld>
            <a:endParaRPr lang="it-IT" noProof="0"/>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it-IT" noProof="0"/>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it-IT" noProof="0"/>
              <a:t>Fare clic per modificare gli stili del testo dello schema</a:t>
            </a:r>
          </a:p>
          <a:p>
            <a:pPr lvl="1" rtl="0"/>
            <a:r>
              <a:rPr lang="it-IT" noProof="0"/>
              <a:t>Secondo livello</a:t>
            </a:r>
          </a:p>
          <a:p>
            <a:pPr lvl="2" rtl="0"/>
            <a:r>
              <a:rPr lang="it-IT" noProof="0"/>
              <a:t>Terzo livello</a:t>
            </a:r>
          </a:p>
          <a:p>
            <a:pPr lvl="3" rtl="0"/>
            <a:r>
              <a:rPr lang="it-IT" noProof="0"/>
              <a:t>Quarto livello</a:t>
            </a:r>
          </a:p>
          <a:p>
            <a:pPr lvl="4" rtl="0"/>
            <a:r>
              <a:rPr lang="it-IT" noProof="0"/>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it-IT" noProof="0"/>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6BF82289-BCFD-4053-9D06-A9140C63A457}" type="slidenum">
              <a:rPr lang="it-IT" noProof="0" smtClean="0"/>
              <a:t>‹N›</a:t>
            </a:fld>
            <a:endParaRPr lang="it-IT" noProof="0"/>
          </a:p>
        </p:txBody>
      </p:sp>
    </p:spTree>
    <p:extLst>
      <p:ext uri="{BB962C8B-B14F-4D97-AF65-F5344CB8AC3E}">
        <p14:creationId xmlns:p14="http://schemas.microsoft.com/office/powerpoint/2010/main" val="144947508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Quando ho letto il tema che mi è stato assegnato, sono rimasta colpita dalle prime due parole: Sperimentazione didattica. Ecco, l’obiettivo del mio intervento è cercare di accendere, riaccendere o alimentare in voi la fiamma della Sperimentazione didattica. Ognuno di voi ha potenzialità, esperienza e strumenti per sperimentare nell’ambito della didattica. Potete usare modelli di riferimento che probabilmente già conoscete, come punto di partenza, aggiungendo il vostro personale contributo e inventando qualcosa di nuovo. Io vorrei tentare di darvi alcuni suggerimenti perché i vostri sforzi abbiamo un metodo.</a:t>
            </a:r>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1</a:t>
            </a:fld>
            <a:endParaRPr lang="it-IT" noProof="0"/>
          </a:p>
        </p:txBody>
      </p:sp>
    </p:spTree>
    <p:extLst>
      <p:ext uri="{BB962C8B-B14F-4D97-AF65-F5344CB8AC3E}">
        <p14:creationId xmlns:p14="http://schemas.microsoft.com/office/powerpoint/2010/main" val="19232543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Vale per voi insegnati, ma vale anche per gli alunni.</a:t>
            </a:r>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14</a:t>
            </a:fld>
            <a:endParaRPr lang="it-IT" noProof="0"/>
          </a:p>
        </p:txBody>
      </p:sp>
    </p:spTree>
    <p:extLst>
      <p:ext uri="{BB962C8B-B14F-4D97-AF65-F5344CB8AC3E}">
        <p14:creationId xmlns:p14="http://schemas.microsoft.com/office/powerpoint/2010/main" val="1736149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15</a:t>
            </a:fld>
            <a:endParaRPr lang="it-IT" noProof="0"/>
          </a:p>
        </p:txBody>
      </p:sp>
    </p:spTree>
    <p:extLst>
      <p:ext uri="{BB962C8B-B14F-4D97-AF65-F5344CB8AC3E}">
        <p14:creationId xmlns:p14="http://schemas.microsoft.com/office/powerpoint/2010/main" val="42077015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16</a:t>
            </a:fld>
            <a:endParaRPr lang="it-IT" noProof="0"/>
          </a:p>
        </p:txBody>
      </p:sp>
    </p:spTree>
    <p:extLst>
      <p:ext uri="{BB962C8B-B14F-4D97-AF65-F5344CB8AC3E}">
        <p14:creationId xmlns:p14="http://schemas.microsoft.com/office/powerpoint/2010/main" val="23491672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17</a:t>
            </a:fld>
            <a:endParaRPr lang="it-IT" noProof="0"/>
          </a:p>
        </p:txBody>
      </p:sp>
    </p:spTree>
    <p:extLst>
      <p:ext uri="{BB962C8B-B14F-4D97-AF65-F5344CB8AC3E}">
        <p14:creationId xmlns:p14="http://schemas.microsoft.com/office/powerpoint/2010/main" val="2822553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21</a:t>
            </a:fld>
            <a:endParaRPr lang="it-IT" noProof="0"/>
          </a:p>
        </p:txBody>
      </p:sp>
    </p:spTree>
    <p:extLst>
      <p:ext uri="{BB962C8B-B14F-4D97-AF65-F5344CB8AC3E}">
        <p14:creationId xmlns:p14="http://schemas.microsoft.com/office/powerpoint/2010/main" val="27898585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23</a:t>
            </a:fld>
            <a:endParaRPr lang="it-IT" noProof="0"/>
          </a:p>
        </p:txBody>
      </p:sp>
    </p:spTree>
    <p:extLst>
      <p:ext uri="{BB962C8B-B14F-4D97-AF65-F5344CB8AC3E}">
        <p14:creationId xmlns:p14="http://schemas.microsoft.com/office/powerpoint/2010/main" val="31652102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25</a:t>
            </a:fld>
            <a:endParaRPr lang="it-IT" noProof="0"/>
          </a:p>
        </p:txBody>
      </p:sp>
    </p:spTree>
    <p:extLst>
      <p:ext uri="{BB962C8B-B14F-4D97-AF65-F5344CB8AC3E}">
        <p14:creationId xmlns:p14="http://schemas.microsoft.com/office/powerpoint/2010/main" val="32161000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27</a:t>
            </a:fld>
            <a:endParaRPr lang="it-IT" noProof="0"/>
          </a:p>
        </p:txBody>
      </p:sp>
    </p:spTree>
    <p:extLst>
      <p:ext uri="{BB962C8B-B14F-4D97-AF65-F5344CB8AC3E}">
        <p14:creationId xmlns:p14="http://schemas.microsoft.com/office/powerpoint/2010/main" val="18339061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28</a:t>
            </a:fld>
            <a:endParaRPr lang="it-IT" noProof="0"/>
          </a:p>
        </p:txBody>
      </p:sp>
    </p:spTree>
    <p:extLst>
      <p:ext uri="{BB962C8B-B14F-4D97-AF65-F5344CB8AC3E}">
        <p14:creationId xmlns:p14="http://schemas.microsoft.com/office/powerpoint/2010/main" val="10386414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29</a:t>
            </a:fld>
            <a:endParaRPr lang="it-IT" noProof="0"/>
          </a:p>
        </p:txBody>
      </p:sp>
    </p:spTree>
    <p:extLst>
      <p:ext uri="{BB962C8B-B14F-4D97-AF65-F5344CB8AC3E}">
        <p14:creationId xmlns:p14="http://schemas.microsoft.com/office/powerpoint/2010/main" val="880373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rtl="0"/>
            <a:fld id="{5A2B4267-FD12-436C-A400-74799FCF0CD5}" type="slidenum">
              <a:rPr lang="it-IT" smtClean="0"/>
              <a:t>2</a:t>
            </a:fld>
            <a:endParaRPr lang="it-IT"/>
          </a:p>
        </p:txBody>
      </p:sp>
    </p:spTree>
    <p:extLst>
      <p:ext uri="{BB962C8B-B14F-4D97-AF65-F5344CB8AC3E}">
        <p14:creationId xmlns:p14="http://schemas.microsoft.com/office/powerpoint/2010/main" val="42707033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30</a:t>
            </a:fld>
            <a:endParaRPr lang="it-IT" noProof="0"/>
          </a:p>
        </p:txBody>
      </p:sp>
    </p:spTree>
    <p:extLst>
      <p:ext uri="{BB962C8B-B14F-4D97-AF65-F5344CB8AC3E}">
        <p14:creationId xmlns:p14="http://schemas.microsoft.com/office/powerpoint/2010/main" val="3796025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31</a:t>
            </a:fld>
            <a:endParaRPr lang="it-IT" noProof="0"/>
          </a:p>
        </p:txBody>
      </p:sp>
    </p:spTree>
    <p:extLst>
      <p:ext uri="{BB962C8B-B14F-4D97-AF65-F5344CB8AC3E}">
        <p14:creationId xmlns:p14="http://schemas.microsoft.com/office/powerpoint/2010/main" val="19816822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32</a:t>
            </a:fld>
            <a:endParaRPr lang="it-IT" noProof="0"/>
          </a:p>
        </p:txBody>
      </p:sp>
    </p:spTree>
    <p:extLst>
      <p:ext uri="{BB962C8B-B14F-4D97-AF65-F5344CB8AC3E}">
        <p14:creationId xmlns:p14="http://schemas.microsoft.com/office/powerpoint/2010/main" val="34777544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33</a:t>
            </a:fld>
            <a:endParaRPr lang="it-IT" noProof="0"/>
          </a:p>
        </p:txBody>
      </p:sp>
    </p:spTree>
    <p:extLst>
      <p:ext uri="{BB962C8B-B14F-4D97-AF65-F5344CB8AC3E}">
        <p14:creationId xmlns:p14="http://schemas.microsoft.com/office/powerpoint/2010/main" val="30526981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34</a:t>
            </a:fld>
            <a:endParaRPr lang="it-IT" noProof="0"/>
          </a:p>
        </p:txBody>
      </p:sp>
    </p:spTree>
    <p:extLst>
      <p:ext uri="{BB962C8B-B14F-4D97-AF65-F5344CB8AC3E}">
        <p14:creationId xmlns:p14="http://schemas.microsoft.com/office/powerpoint/2010/main" val="3328440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35</a:t>
            </a:fld>
            <a:endParaRPr lang="it-IT" noProof="0"/>
          </a:p>
        </p:txBody>
      </p:sp>
    </p:spTree>
    <p:extLst>
      <p:ext uri="{BB962C8B-B14F-4D97-AF65-F5344CB8AC3E}">
        <p14:creationId xmlns:p14="http://schemas.microsoft.com/office/powerpoint/2010/main" val="41555343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36</a:t>
            </a:fld>
            <a:endParaRPr lang="it-IT" noProof="0"/>
          </a:p>
        </p:txBody>
      </p:sp>
    </p:spTree>
    <p:extLst>
      <p:ext uri="{BB962C8B-B14F-4D97-AF65-F5344CB8AC3E}">
        <p14:creationId xmlns:p14="http://schemas.microsoft.com/office/powerpoint/2010/main" val="6574919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37</a:t>
            </a:fld>
            <a:endParaRPr lang="it-IT" noProof="0"/>
          </a:p>
        </p:txBody>
      </p:sp>
    </p:spTree>
    <p:extLst>
      <p:ext uri="{BB962C8B-B14F-4D97-AF65-F5344CB8AC3E}">
        <p14:creationId xmlns:p14="http://schemas.microsoft.com/office/powerpoint/2010/main" val="11435763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38</a:t>
            </a:fld>
            <a:endParaRPr lang="it-IT" noProof="0"/>
          </a:p>
        </p:txBody>
      </p:sp>
    </p:spTree>
    <p:extLst>
      <p:ext uri="{BB962C8B-B14F-4D97-AF65-F5344CB8AC3E}">
        <p14:creationId xmlns:p14="http://schemas.microsoft.com/office/powerpoint/2010/main" val="14482578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39</a:t>
            </a:fld>
            <a:endParaRPr lang="it-IT" noProof="0"/>
          </a:p>
        </p:txBody>
      </p:sp>
    </p:spTree>
    <p:extLst>
      <p:ext uri="{BB962C8B-B14F-4D97-AF65-F5344CB8AC3E}">
        <p14:creationId xmlns:p14="http://schemas.microsoft.com/office/powerpoint/2010/main" val="28996917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3</a:t>
            </a:fld>
            <a:endParaRPr lang="it-IT" noProof="0"/>
          </a:p>
        </p:txBody>
      </p:sp>
    </p:spTree>
    <p:extLst>
      <p:ext uri="{BB962C8B-B14F-4D97-AF65-F5344CB8AC3E}">
        <p14:creationId xmlns:p14="http://schemas.microsoft.com/office/powerpoint/2010/main" val="257045574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40</a:t>
            </a:fld>
            <a:endParaRPr lang="it-IT" noProof="0"/>
          </a:p>
        </p:txBody>
      </p:sp>
    </p:spTree>
    <p:extLst>
      <p:ext uri="{BB962C8B-B14F-4D97-AF65-F5344CB8AC3E}">
        <p14:creationId xmlns:p14="http://schemas.microsoft.com/office/powerpoint/2010/main" val="2994384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rtl="0"/>
            <a:fld id="{5A2B4267-FD12-436C-A400-74799FCF0CD5}" type="slidenum">
              <a:rPr lang="it-IT" smtClean="0"/>
              <a:t>41</a:t>
            </a:fld>
            <a:endParaRPr lang="it-IT"/>
          </a:p>
        </p:txBody>
      </p:sp>
    </p:spTree>
    <p:extLst>
      <p:ext uri="{BB962C8B-B14F-4D97-AF65-F5344CB8AC3E}">
        <p14:creationId xmlns:p14="http://schemas.microsoft.com/office/powerpoint/2010/main" val="33635856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42</a:t>
            </a:fld>
            <a:endParaRPr lang="it-IT" noProof="0"/>
          </a:p>
        </p:txBody>
      </p:sp>
    </p:spTree>
    <p:extLst>
      <p:ext uri="{BB962C8B-B14F-4D97-AF65-F5344CB8AC3E}">
        <p14:creationId xmlns:p14="http://schemas.microsoft.com/office/powerpoint/2010/main" val="32388202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44</a:t>
            </a:fld>
            <a:endParaRPr lang="it-IT" noProof="0"/>
          </a:p>
        </p:txBody>
      </p:sp>
    </p:spTree>
    <p:extLst>
      <p:ext uri="{BB962C8B-B14F-4D97-AF65-F5344CB8AC3E}">
        <p14:creationId xmlns:p14="http://schemas.microsoft.com/office/powerpoint/2010/main" val="22411488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45</a:t>
            </a:fld>
            <a:endParaRPr lang="it-IT" noProof="0"/>
          </a:p>
        </p:txBody>
      </p:sp>
    </p:spTree>
    <p:extLst>
      <p:ext uri="{BB962C8B-B14F-4D97-AF65-F5344CB8AC3E}">
        <p14:creationId xmlns:p14="http://schemas.microsoft.com/office/powerpoint/2010/main" val="3858109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46</a:t>
            </a:fld>
            <a:endParaRPr lang="it-IT" noProof="0"/>
          </a:p>
        </p:txBody>
      </p:sp>
    </p:spTree>
    <p:extLst>
      <p:ext uri="{BB962C8B-B14F-4D97-AF65-F5344CB8AC3E}">
        <p14:creationId xmlns:p14="http://schemas.microsoft.com/office/powerpoint/2010/main" val="52935792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47</a:t>
            </a:fld>
            <a:endParaRPr lang="it-IT" noProof="0"/>
          </a:p>
        </p:txBody>
      </p:sp>
    </p:spTree>
    <p:extLst>
      <p:ext uri="{BB962C8B-B14F-4D97-AF65-F5344CB8AC3E}">
        <p14:creationId xmlns:p14="http://schemas.microsoft.com/office/powerpoint/2010/main" val="249520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4</a:t>
            </a:fld>
            <a:endParaRPr lang="it-IT" noProof="0"/>
          </a:p>
        </p:txBody>
      </p:sp>
    </p:spTree>
    <p:extLst>
      <p:ext uri="{BB962C8B-B14F-4D97-AF65-F5344CB8AC3E}">
        <p14:creationId xmlns:p14="http://schemas.microsoft.com/office/powerpoint/2010/main" val="65406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5</a:t>
            </a:fld>
            <a:endParaRPr lang="it-IT" noProof="0"/>
          </a:p>
        </p:txBody>
      </p:sp>
    </p:spTree>
    <p:extLst>
      <p:ext uri="{BB962C8B-B14F-4D97-AF65-F5344CB8AC3E}">
        <p14:creationId xmlns:p14="http://schemas.microsoft.com/office/powerpoint/2010/main" val="828201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7</a:t>
            </a:fld>
            <a:endParaRPr lang="it-IT" noProof="0"/>
          </a:p>
        </p:txBody>
      </p:sp>
    </p:spTree>
    <p:extLst>
      <p:ext uri="{BB962C8B-B14F-4D97-AF65-F5344CB8AC3E}">
        <p14:creationId xmlns:p14="http://schemas.microsoft.com/office/powerpoint/2010/main" val="16263608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9</a:t>
            </a:fld>
            <a:endParaRPr lang="it-IT" noProof="0"/>
          </a:p>
        </p:txBody>
      </p:sp>
    </p:spTree>
    <p:extLst>
      <p:ext uri="{BB962C8B-B14F-4D97-AF65-F5344CB8AC3E}">
        <p14:creationId xmlns:p14="http://schemas.microsoft.com/office/powerpoint/2010/main" val="32952088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10</a:t>
            </a:fld>
            <a:endParaRPr lang="it-IT" noProof="0"/>
          </a:p>
        </p:txBody>
      </p:sp>
    </p:spTree>
    <p:extLst>
      <p:ext uri="{BB962C8B-B14F-4D97-AF65-F5344CB8AC3E}">
        <p14:creationId xmlns:p14="http://schemas.microsoft.com/office/powerpoint/2010/main" val="12595880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rtl="0"/>
            <a:fld id="{6BF82289-BCFD-4053-9D06-A9140C63A457}" type="slidenum">
              <a:rPr lang="it-IT" noProof="0" smtClean="0"/>
              <a:t>11</a:t>
            </a:fld>
            <a:endParaRPr lang="it-IT" noProof="0"/>
          </a:p>
        </p:txBody>
      </p:sp>
    </p:spTree>
    <p:extLst>
      <p:ext uri="{BB962C8B-B14F-4D97-AF65-F5344CB8AC3E}">
        <p14:creationId xmlns:p14="http://schemas.microsoft.com/office/powerpoint/2010/main" val="1049497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olo_01">
    <p:spTree>
      <p:nvGrpSpPr>
        <p:cNvPr id="1" name=""/>
        <p:cNvGrpSpPr/>
        <p:nvPr/>
      </p:nvGrpSpPr>
      <p:grpSpPr>
        <a:xfrm>
          <a:off x="0" y="0"/>
          <a:ext cx="0" cy="0"/>
          <a:chOff x="0" y="0"/>
          <a:chExt cx="0" cy="0"/>
        </a:xfrm>
      </p:grpSpPr>
      <p:sp>
        <p:nvSpPr>
          <p:cNvPr id="10" name="Figura a mano libera: Forma 9">
            <a:extLst>
              <a:ext uri="{FF2B5EF4-FFF2-40B4-BE49-F238E27FC236}">
                <a16:creationId xmlns:a16="http://schemas.microsoft.com/office/drawing/2014/main" id="{B305EBB3-0F16-4B63-82ED-191AB224B8E2}"/>
              </a:ext>
            </a:extLst>
          </p:cNvPr>
          <p:cNvSpPr/>
          <p:nvPr userDrawn="1"/>
        </p:nvSpPr>
        <p:spPr>
          <a:xfrm>
            <a:off x="6676569" y="0"/>
            <a:ext cx="3522381" cy="6858000"/>
          </a:xfrm>
          <a:custGeom>
            <a:avLst/>
            <a:gdLst>
              <a:gd name="connsiteX0" fmla="*/ 0 w 3522381"/>
              <a:gd name="connsiteY0" fmla="*/ 0 h 6858000"/>
              <a:gd name="connsiteX1" fmla="*/ 3522381 w 3522381"/>
              <a:gd name="connsiteY1" fmla="*/ 0 h 6858000"/>
              <a:gd name="connsiteX2" fmla="*/ 51547 w 3522381"/>
              <a:gd name="connsiteY2" fmla="*/ 6858000 h 6858000"/>
              <a:gd name="connsiteX3" fmla="*/ 0 w 35223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22381" h="6858000">
                <a:moveTo>
                  <a:pt x="0" y="0"/>
                </a:moveTo>
                <a:lnTo>
                  <a:pt x="3522381" y="0"/>
                </a:lnTo>
                <a:lnTo>
                  <a:pt x="51547" y="6858000"/>
                </a:lnTo>
                <a:lnTo>
                  <a:pt x="0" y="6858000"/>
                </a:lnTo>
                <a:close/>
              </a:path>
            </a:pathLst>
          </a:custGeom>
          <a:solidFill>
            <a:schemeClr val="bg1">
              <a:lumMod val="95000"/>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noProof="0"/>
          </a:p>
        </p:txBody>
      </p:sp>
      <p:sp>
        <p:nvSpPr>
          <p:cNvPr id="12" name="Segnaposto immagine 11">
            <a:extLst>
              <a:ext uri="{FF2B5EF4-FFF2-40B4-BE49-F238E27FC236}">
                <a16:creationId xmlns:a16="http://schemas.microsoft.com/office/drawing/2014/main" id="{1A440F4A-C2AF-406D-B420-CCF52F447AC1}"/>
              </a:ext>
            </a:extLst>
          </p:cNvPr>
          <p:cNvSpPr>
            <a:spLocks noGrp="1"/>
          </p:cNvSpPr>
          <p:nvPr>
            <p:ph type="pic" sz="quarter" idx="10" hasCustomPrompt="1"/>
          </p:nvPr>
        </p:nvSpPr>
        <p:spPr>
          <a:xfrm>
            <a:off x="-1" y="0"/>
            <a:ext cx="6676568" cy="6858000"/>
          </a:xfrm>
        </p:spPr>
        <p:txBody>
          <a:bodyPr rtlCol="0" anchor="ctr" anchorCtr="1">
            <a:normAutofit/>
          </a:bodyPr>
          <a:lstStyle>
            <a:lvl1pPr marL="0" indent="0">
              <a:buNone/>
              <a:defRPr sz="2400">
                <a:solidFill>
                  <a:schemeClr val="bg1"/>
                </a:solidFill>
              </a:defRPr>
            </a:lvl1pPr>
          </a:lstStyle>
          <a:p>
            <a:pPr rtl="0"/>
            <a:r>
              <a:rPr lang="it-IT" noProof="0"/>
              <a:t>Inserisci immagine</a:t>
            </a:r>
          </a:p>
        </p:txBody>
      </p:sp>
      <p:sp>
        <p:nvSpPr>
          <p:cNvPr id="2" name="Titolo 1">
            <a:extLst>
              <a:ext uri="{FF2B5EF4-FFF2-40B4-BE49-F238E27FC236}">
                <a16:creationId xmlns:a16="http://schemas.microsoft.com/office/drawing/2014/main" id="{C1744DE2-A455-46F2-BE15-959050C87CE4}"/>
              </a:ext>
            </a:extLst>
          </p:cNvPr>
          <p:cNvSpPr>
            <a:spLocks noGrp="1"/>
          </p:cNvSpPr>
          <p:nvPr>
            <p:ph type="ctrTitle" hasCustomPrompt="1"/>
          </p:nvPr>
        </p:nvSpPr>
        <p:spPr>
          <a:xfrm>
            <a:off x="7274144" y="1291772"/>
            <a:ext cx="4379976" cy="3611880"/>
          </a:xfrm>
        </p:spPr>
        <p:txBody>
          <a:bodyPr vert="horz" lIns="91440" tIns="45720" rIns="91440" bIns="45720" rtlCol="0" anchor="b" anchorCtr="1">
            <a:noAutofit/>
          </a:bodyPr>
          <a:lstStyle>
            <a:lvl1pPr>
              <a:defRPr lang="en-GB" dirty="0"/>
            </a:lvl1pPr>
          </a:lstStyle>
          <a:p>
            <a:pPr marL="0" lvl="0" algn="ctr" rtl="0"/>
            <a:r>
              <a:rPr lang="it-IT" noProof="0"/>
              <a:t>TITOLO</a:t>
            </a:r>
          </a:p>
        </p:txBody>
      </p:sp>
      <p:sp>
        <p:nvSpPr>
          <p:cNvPr id="3" name="Sottotitolo 2">
            <a:extLst>
              <a:ext uri="{FF2B5EF4-FFF2-40B4-BE49-F238E27FC236}">
                <a16:creationId xmlns:a16="http://schemas.microsoft.com/office/drawing/2014/main" id="{AC9DE4F3-CE8F-41A0-BFDE-76D0DF1DF432}"/>
              </a:ext>
            </a:extLst>
          </p:cNvPr>
          <p:cNvSpPr>
            <a:spLocks noGrp="1"/>
          </p:cNvSpPr>
          <p:nvPr>
            <p:ph type="subTitle" idx="1" hasCustomPrompt="1"/>
          </p:nvPr>
        </p:nvSpPr>
        <p:spPr>
          <a:xfrm>
            <a:off x="7389079" y="5392401"/>
            <a:ext cx="4178808" cy="521208"/>
          </a:xfrm>
        </p:spPr>
        <p:txBody>
          <a:bodyPr vert="horz" lIns="91440" tIns="45720" rIns="91440" bIns="45720" rtlCol="0" anchor="t">
            <a:noAutofit/>
          </a:bodyPr>
          <a:lstStyle>
            <a:lvl1pPr marL="0" indent="0" algn="ctr">
              <a:buNone/>
              <a:defRPr lang="en-US" sz="1800" dirty="0">
                <a:solidFill>
                  <a:srgbClr val="B2606E"/>
                </a:solidFill>
              </a:defRPr>
            </a:lvl1pPr>
          </a:lstStyle>
          <a:p>
            <a:pPr lvl="0" rtl="0"/>
            <a:r>
              <a:rPr lang="it-IT" noProof="0"/>
              <a:t>Sottotitolo</a:t>
            </a:r>
          </a:p>
        </p:txBody>
      </p:sp>
      <p:grpSp>
        <p:nvGrpSpPr>
          <p:cNvPr id="6" name="Gruppo 5">
            <a:extLst>
              <a:ext uri="{FF2B5EF4-FFF2-40B4-BE49-F238E27FC236}">
                <a16:creationId xmlns:a16="http://schemas.microsoft.com/office/drawing/2014/main" id="{EFDB39AB-B644-434A-9D55-AF3455D468E5}"/>
              </a:ext>
            </a:extLst>
          </p:cNvPr>
          <p:cNvGrpSpPr/>
          <p:nvPr userDrawn="1"/>
        </p:nvGrpSpPr>
        <p:grpSpPr>
          <a:xfrm>
            <a:off x="9140346" y="5054600"/>
            <a:ext cx="676275" cy="114300"/>
            <a:chOff x="9330846" y="5054600"/>
            <a:chExt cx="676275" cy="114300"/>
          </a:xfrm>
        </p:grpSpPr>
        <p:sp>
          <p:nvSpPr>
            <p:cNvPr id="7" name="Ovale 6">
              <a:extLst>
                <a:ext uri="{FF2B5EF4-FFF2-40B4-BE49-F238E27FC236}">
                  <a16:creationId xmlns:a16="http://schemas.microsoft.com/office/drawing/2014/main" id="{BF14E129-1970-4994-89E5-F7A67128AFE3}"/>
                </a:ext>
              </a:extLst>
            </p:cNvPr>
            <p:cNvSpPr/>
            <p:nvPr/>
          </p:nvSpPr>
          <p:spPr>
            <a:xfrm>
              <a:off x="933084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8" name="Ovale 7">
              <a:extLst>
                <a:ext uri="{FF2B5EF4-FFF2-40B4-BE49-F238E27FC236}">
                  <a16:creationId xmlns:a16="http://schemas.microsoft.com/office/drawing/2014/main" id="{593336FA-97B2-4528-88E8-5FF97F86E216}"/>
                </a:ext>
              </a:extLst>
            </p:cNvPr>
            <p:cNvSpPr/>
            <p:nvPr/>
          </p:nvSpPr>
          <p:spPr>
            <a:xfrm>
              <a:off x="951817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9" name="Ovale 8">
              <a:extLst>
                <a:ext uri="{FF2B5EF4-FFF2-40B4-BE49-F238E27FC236}">
                  <a16:creationId xmlns:a16="http://schemas.microsoft.com/office/drawing/2014/main" id="{8A73C166-FCDF-40AE-8B0D-69C7E2C8573E}"/>
                </a:ext>
              </a:extLst>
            </p:cNvPr>
            <p:cNvSpPr/>
            <p:nvPr/>
          </p:nvSpPr>
          <p:spPr>
            <a:xfrm>
              <a:off x="970549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1" name="Ovale 10">
              <a:extLst>
                <a:ext uri="{FF2B5EF4-FFF2-40B4-BE49-F238E27FC236}">
                  <a16:creationId xmlns:a16="http://schemas.microsoft.com/office/drawing/2014/main" id="{EF418119-E3DD-44B0-A4AF-F8A98EC5863B}"/>
                </a:ext>
              </a:extLst>
            </p:cNvPr>
            <p:cNvSpPr/>
            <p:nvPr/>
          </p:nvSpPr>
          <p:spPr>
            <a:xfrm>
              <a:off x="989282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Tree>
    <p:extLst>
      <p:ext uri="{BB962C8B-B14F-4D97-AF65-F5344CB8AC3E}">
        <p14:creationId xmlns:p14="http://schemas.microsoft.com/office/powerpoint/2010/main" val="1242049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815864" cy="830997"/>
          </a:xfrm>
        </p:spPr>
        <p:txBody>
          <a:bodyPr vert="horz" wrap="square" lIns="0" tIns="45720" rIns="91440" bIns="45720" rtlCol="0" anchor="t">
            <a:noAutofit/>
          </a:bodyPr>
          <a:lstStyle>
            <a:lvl1pPr>
              <a:defRPr lang="en-GB" sz="2400">
                <a:solidFill>
                  <a:schemeClr val="tx1"/>
                </a:solidFill>
                <a:latin typeface="Corbel" panose="020B0503020204020204" pitchFamily="34" charset="0"/>
              </a:defRPr>
            </a:lvl1pPr>
          </a:lstStyle>
          <a:p>
            <a:pPr lvl="0" rtl="0">
              <a:lnSpc>
                <a:spcPct val="100000"/>
              </a:lnSpc>
            </a:pPr>
            <a:r>
              <a:rPr lang="it-IT" noProof="0"/>
              <a:t>Fare clic per modificare lo stile del titolo dello schema</a:t>
            </a:r>
          </a:p>
        </p:txBody>
      </p:sp>
      <p:grpSp>
        <p:nvGrpSpPr>
          <p:cNvPr id="4" name="Gruppo 3">
            <a:extLst>
              <a:ext uri="{FF2B5EF4-FFF2-40B4-BE49-F238E27FC236}">
                <a16:creationId xmlns:a16="http://schemas.microsoft.com/office/drawing/2014/main" id="{859AE304-DA92-45D8-B258-61BEA6C99C0E}"/>
              </a:ext>
            </a:extLst>
          </p:cNvPr>
          <p:cNvGrpSpPr/>
          <p:nvPr userDrawn="1"/>
        </p:nvGrpSpPr>
        <p:grpSpPr>
          <a:xfrm>
            <a:off x="0" y="6086479"/>
            <a:ext cx="12192000" cy="600974"/>
            <a:chOff x="0" y="6086479"/>
            <a:chExt cx="12192000" cy="600974"/>
          </a:xfrm>
        </p:grpSpPr>
        <p:sp>
          <p:nvSpPr>
            <p:cNvPr id="5" name="Rettangolo 4">
              <a:extLst>
                <a:ext uri="{FF2B5EF4-FFF2-40B4-BE49-F238E27FC236}">
                  <a16:creationId xmlns:a16="http://schemas.microsoft.com/office/drawing/2014/main" id="{6BF91D02-B4A9-4013-94B6-079A8D06DE1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7" name="Ovale 6">
              <a:extLst>
                <a:ext uri="{FF2B5EF4-FFF2-40B4-BE49-F238E27FC236}">
                  <a16:creationId xmlns:a16="http://schemas.microsoft.com/office/drawing/2014/main" id="{74DAC864-782A-48D4-8E15-9B35C60421BB}"/>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
        <p:nvSpPr>
          <p:cNvPr id="8" name="Segnaposto numero diapositiva 5">
            <a:extLst>
              <a:ext uri="{FF2B5EF4-FFF2-40B4-BE49-F238E27FC236}">
                <a16:creationId xmlns:a16="http://schemas.microsoft.com/office/drawing/2014/main" id="{73B7B0E2-E4FA-4B45-89A6-98E4C4DC1D24}"/>
              </a:ext>
            </a:extLst>
          </p:cNvPr>
          <p:cNvSpPr txBox="1">
            <a:spLocks/>
          </p:cNvSpPr>
          <p:nvPr userDrawn="1"/>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noProof="0" smtClean="0">
                <a:solidFill>
                  <a:schemeClr val="bg1"/>
                </a:solidFill>
              </a:rPr>
              <a:pPr algn="ctr"/>
              <a:t>‹N›</a:t>
            </a:fld>
            <a:endParaRPr lang="it-IT" sz="1200" noProof="0">
              <a:solidFill>
                <a:schemeClr val="bg1"/>
              </a:solidFill>
            </a:endParaRPr>
          </a:p>
        </p:txBody>
      </p:sp>
    </p:spTree>
    <p:extLst>
      <p:ext uri="{BB962C8B-B14F-4D97-AF65-F5344CB8AC3E}">
        <p14:creationId xmlns:p14="http://schemas.microsoft.com/office/powerpoint/2010/main" val="1508095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Immagini_Testo importante 01">
    <p:spTree>
      <p:nvGrpSpPr>
        <p:cNvPr id="1" name=""/>
        <p:cNvGrpSpPr/>
        <p:nvPr/>
      </p:nvGrpSpPr>
      <p:grpSpPr>
        <a:xfrm>
          <a:off x="0" y="0"/>
          <a:ext cx="0" cy="0"/>
          <a:chOff x="0" y="0"/>
          <a:chExt cx="0" cy="0"/>
        </a:xfrm>
      </p:grpSpPr>
      <p:sp>
        <p:nvSpPr>
          <p:cNvPr id="12" name="Segnaposto immagine 11">
            <a:extLst>
              <a:ext uri="{FF2B5EF4-FFF2-40B4-BE49-F238E27FC236}">
                <a16:creationId xmlns:a16="http://schemas.microsoft.com/office/drawing/2014/main" id="{83A2DEF1-03FF-475D-994A-6FC6FB1414FB}"/>
              </a:ext>
            </a:extLst>
          </p:cNvPr>
          <p:cNvSpPr>
            <a:spLocks noGrp="1"/>
          </p:cNvSpPr>
          <p:nvPr>
            <p:ph type="pic" sz="quarter" idx="12" hasCustomPrompt="1"/>
          </p:nvPr>
        </p:nvSpPr>
        <p:spPr>
          <a:xfrm>
            <a:off x="0" y="0"/>
            <a:ext cx="8087304" cy="6858000"/>
          </a:xfrm>
          <a:custGeom>
            <a:avLst/>
            <a:gdLst>
              <a:gd name="connsiteX0" fmla="*/ 0 w 8087304"/>
              <a:gd name="connsiteY0" fmla="*/ 0 h 6858000"/>
              <a:gd name="connsiteX1" fmla="*/ 8087304 w 8087304"/>
              <a:gd name="connsiteY1" fmla="*/ 0 h 6858000"/>
              <a:gd name="connsiteX2" fmla="*/ 8087304 w 8087304"/>
              <a:gd name="connsiteY2" fmla="*/ 7620 h 6858000"/>
              <a:gd name="connsiteX3" fmla="*/ 6368365 w 8087304"/>
              <a:gd name="connsiteY3" fmla="*/ 6858000 h 6858000"/>
              <a:gd name="connsiteX4" fmla="*/ 0 w 8087304"/>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87304" h="6858000">
                <a:moveTo>
                  <a:pt x="0" y="0"/>
                </a:moveTo>
                <a:lnTo>
                  <a:pt x="8087304" y="0"/>
                </a:lnTo>
                <a:lnTo>
                  <a:pt x="8087304" y="7620"/>
                </a:lnTo>
                <a:lnTo>
                  <a:pt x="6368365" y="6858000"/>
                </a:lnTo>
                <a:lnTo>
                  <a:pt x="0" y="6858000"/>
                </a:lnTo>
                <a:close/>
              </a:path>
            </a:pathLst>
          </a:custGeom>
        </p:spPr>
        <p:txBody>
          <a:bodyPr wrap="square" rtlCol="0" anchor="ctr" anchorCtr="1">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a:lvl1pPr>
          </a:lstStyle>
          <a:p>
            <a:pPr marL="285750" marR="0" lvl="0" indent="-285750" algn="ctr" defTabSz="914400" rtl="0" eaLnBrk="1" fontAlgn="auto" latinLnBrk="0" hangingPunct="1">
              <a:lnSpc>
                <a:spcPct val="90000"/>
              </a:lnSpc>
              <a:spcBef>
                <a:spcPts val="1000"/>
              </a:spcBef>
              <a:spcAft>
                <a:spcPts val="0"/>
              </a:spcAft>
              <a:buClrTx/>
              <a:buSzTx/>
              <a:tabLst/>
              <a:defRPr/>
            </a:pPr>
            <a:r>
              <a:rPr lang="it-IT" noProof="0"/>
              <a:t>Inserisci immagine</a:t>
            </a:r>
          </a:p>
        </p:txBody>
      </p:sp>
      <p:sp>
        <p:nvSpPr>
          <p:cNvPr id="2" name="Titolo 1">
            <a:extLst>
              <a:ext uri="{FF2B5EF4-FFF2-40B4-BE49-F238E27FC236}">
                <a16:creationId xmlns:a16="http://schemas.microsoft.com/office/drawing/2014/main" id="{2558FCDE-8F3F-4E83-B550-DF944B424F78}"/>
              </a:ext>
            </a:extLst>
          </p:cNvPr>
          <p:cNvSpPr>
            <a:spLocks noGrp="1"/>
          </p:cNvSpPr>
          <p:nvPr>
            <p:ph type="title"/>
          </p:nvPr>
        </p:nvSpPr>
        <p:spPr>
          <a:xfrm>
            <a:off x="785586" y="4081468"/>
            <a:ext cx="5005614" cy="822960"/>
          </a:xfrm>
        </p:spPr>
        <p:txBody>
          <a:bodyPr vert="horz" wrap="square" lIns="0" tIns="45720" rIns="91440" bIns="45720" rtlCol="0" anchor="t">
            <a:noAutofit/>
          </a:bodyPr>
          <a:lstStyle>
            <a:lvl1pPr marL="0" indent="0">
              <a:buFont typeface="Arial" panose="020B0604020202020204" pitchFamily="34" charset="0"/>
              <a:buNone/>
              <a:defRPr lang="en-GB" sz="2400" dirty="0">
                <a:solidFill>
                  <a:schemeClr val="tx1"/>
                </a:solidFill>
                <a:latin typeface="Corbel" panose="020B0503020204020204" pitchFamily="34" charset="0"/>
              </a:defRPr>
            </a:lvl1pPr>
          </a:lstStyle>
          <a:p>
            <a:pPr marL="0" lvl="0" rtl="0">
              <a:lnSpc>
                <a:spcPct val="100000"/>
              </a:lnSpc>
            </a:pPr>
            <a:r>
              <a:rPr lang="it-IT" noProof="0"/>
              <a:t>Fare clic per modificare lo stile del titolo dello schema</a:t>
            </a:r>
          </a:p>
        </p:txBody>
      </p:sp>
      <p:sp>
        <p:nvSpPr>
          <p:cNvPr id="13" name="Segnaposto testo 12">
            <a:extLst>
              <a:ext uri="{FF2B5EF4-FFF2-40B4-BE49-F238E27FC236}">
                <a16:creationId xmlns:a16="http://schemas.microsoft.com/office/drawing/2014/main" id="{B48BA177-B717-42B2-884C-04576C20342D}"/>
              </a:ext>
            </a:extLst>
          </p:cNvPr>
          <p:cNvSpPr>
            <a:spLocks noGrp="1"/>
          </p:cNvSpPr>
          <p:nvPr>
            <p:ph type="body" sz="quarter" idx="11" hasCustomPrompt="1"/>
          </p:nvPr>
        </p:nvSpPr>
        <p:spPr>
          <a:xfrm>
            <a:off x="785586" y="5047107"/>
            <a:ext cx="5005614" cy="1005840"/>
          </a:xfrm>
        </p:spPr>
        <p:txBody>
          <a:bodyPr vert="horz" wrap="square" lIns="0" tIns="45720" rIns="0" bIns="45720" rtlCol="0" anchor="t">
            <a:noAutofit/>
          </a:bodyPr>
          <a:lstStyle>
            <a:lvl1pPr marL="0" indent="0">
              <a:buNone/>
              <a:defRPr lang="en-US" sz="1600" dirty="0" smtClean="0">
                <a:solidFill>
                  <a:schemeClr val="tx1"/>
                </a:solidFill>
                <a:latin typeface="+mn-lt"/>
                <a:ea typeface="+mj-ea"/>
                <a:cs typeface="+mj-cs"/>
              </a:defRPr>
            </a:lvl1pPr>
          </a:lstStyle>
          <a:p>
            <a:pPr marL="57150" lvl="0" indent="-285750" rtl="0">
              <a:lnSpc>
                <a:spcPct val="100000"/>
              </a:lnSpc>
              <a:spcBef>
                <a:spcPct val="0"/>
              </a:spcBef>
            </a:pPr>
            <a:r>
              <a:rPr lang="it-IT" noProof="0"/>
              <a:t>Fare clic per modificare lo stile del titolo</a:t>
            </a:r>
          </a:p>
        </p:txBody>
      </p:sp>
      <p:sp>
        <p:nvSpPr>
          <p:cNvPr id="17" name="Segnaposto immagine 16">
            <a:extLst>
              <a:ext uri="{FF2B5EF4-FFF2-40B4-BE49-F238E27FC236}">
                <a16:creationId xmlns:a16="http://schemas.microsoft.com/office/drawing/2014/main" id="{D935D313-376E-4CA0-9732-D0CACCC07FAD}"/>
              </a:ext>
            </a:extLst>
          </p:cNvPr>
          <p:cNvSpPr>
            <a:spLocks noGrp="1"/>
          </p:cNvSpPr>
          <p:nvPr>
            <p:ph type="pic" sz="quarter" idx="13" hasCustomPrompt="1"/>
          </p:nvPr>
        </p:nvSpPr>
        <p:spPr>
          <a:xfrm>
            <a:off x="6464300" y="0"/>
            <a:ext cx="5727700" cy="6858000"/>
          </a:xfrm>
          <a:custGeom>
            <a:avLst/>
            <a:gdLst>
              <a:gd name="connsiteX0" fmla="*/ 1708150 w 5727700"/>
              <a:gd name="connsiteY0" fmla="*/ 0 h 6858000"/>
              <a:gd name="connsiteX1" fmla="*/ 5727700 w 5727700"/>
              <a:gd name="connsiteY1" fmla="*/ 0 h 6858000"/>
              <a:gd name="connsiteX2" fmla="*/ 5727700 w 5727700"/>
              <a:gd name="connsiteY2" fmla="*/ 6858000 h 6858000"/>
              <a:gd name="connsiteX3" fmla="*/ 0 w 5727700"/>
              <a:gd name="connsiteY3" fmla="*/ 6858000 h 6858000"/>
              <a:gd name="connsiteX4" fmla="*/ 0 w 5727700"/>
              <a:gd name="connsiteY4" fmla="*/ 68326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27700" h="6858000">
                <a:moveTo>
                  <a:pt x="1708150" y="0"/>
                </a:moveTo>
                <a:lnTo>
                  <a:pt x="5727700" y="0"/>
                </a:lnTo>
                <a:lnTo>
                  <a:pt x="5727700" y="6858000"/>
                </a:lnTo>
                <a:lnTo>
                  <a:pt x="0" y="6858000"/>
                </a:lnTo>
                <a:lnTo>
                  <a:pt x="0" y="6832600"/>
                </a:lnTo>
                <a:close/>
              </a:path>
            </a:pathLst>
          </a:custGeom>
        </p:spPr>
        <p:txBody>
          <a:bodyPr vert="horz" wrap="square" lIns="91440" tIns="45720" rIns="91440" bIns="45720" rtlCol="0" anchor="ctr" anchorCtr="1">
            <a:noAutofit/>
          </a:bodyPr>
          <a:lstStyle>
            <a:lvl1pPr marL="0" indent="0">
              <a:buNone/>
              <a:defRPr lang="en-GB" sz="1800"/>
            </a:lvl1pPr>
          </a:lstStyle>
          <a:p>
            <a:pPr marL="228600" lvl="0" indent="-228600" algn="ctr" rtl="0"/>
            <a:r>
              <a:rPr lang="it-IT" noProof="0"/>
              <a:t>Inserisci immagine</a:t>
            </a:r>
          </a:p>
        </p:txBody>
      </p:sp>
      <p:sp>
        <p:nvSpPr>
          <p:cNvPr id="20" name="Segnaposto numero diapositiva 7">
            <a:extLst>
              <a:ext uri="{FF2B5EF4-FFF2-40B4-BE49-F238E27FC236}">
                <a16:creationId xmlns:a16="http://schemas.microsoft.com/office/drawing/2014/main" id="{1CEA3362-50AD-4D98-92C4-DA1D8C857A75}"/>
              </a:ext>
            </a:extLst>
          </p:cNvPr>
          <p:cNvSpPr>
            <a:spLocks noGrp="1"/>
          </p:cNvSpPr>
          <p:nvPr>
            <p:ph type="sldNum" sz="quarter" idx="4"/>
          </p:nvPr>
        </p:nvSpPr>
        <p:spPr>
          <a:xfrm>
            <a:off x="11091210" y="6189345"/>
            <a:ext cx="600974" cy="395243"/>
          </a:xfrm>
          <a:prstGeom prst="rect">
            <a:avLst/>
          </a:prstGeom>
        </p:spPr>
        <p:txBody>
          <a:bodyPr vert="horz" lIns="0" tIns="0" rIns="0" bIns="0" rtlCol="0" anchor="ctr"/>
          <a:lstStyle>
            <a:lvl1pPr>
              <a:defRPr lang="en-GB" sz="1200" smtClean="0">
                <a:solidFill>
                  <a:schemeClr val="bg1"/>
                </a:solidFill>
              </a:defRPr>
            </a:lvl1pPr>
          </a:lstStyle>
          <a:p>
            <a:pPr algn="ctr" rtl="0"/>
            <a:fld id="{817179DE-9BF3-494C-804F-0C7C90AC8700}" type="slidenum">
              <a:rPr lang="it-IT" noProof="0" smtClean="0"/>
              <a:pPr algn="ctr"/>
              <a:t>‹N›</a:t>
            </a:fld>
            <a:endParaRPr lang="it-IT" noProof="0"/>
          </a:p>
        </p:txBody>
      </p:sp>
    </p:spTree>
    <p:extLst>
      <p:ext uri="{BB962C8B-B14F-4D97-AF65-F5344CB8AC3E}">
        <p14:creationId xmlns:p14="http://schemas.microsoft.com/office/powerpoint/2010/main" val="7914178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Vuoto">
    <p:spTree>
      <p:nvGrpSpPr>
        <p:cNvPr id="1" name=""/>
        <p:cNvGrpSpPr/>
        <p:nvPr/>
      </p:nvGrpSpPr>
      <p:grpSpPr>
        <a:xfrm>
          <a:off x="0" y="0"/>
          <a:ext cx="0" cy="0"/>
          <a:chOff x="0" y="0"/>
          <a:chExt cx="0" cy="0"/>
        </a:xfrm>
      </p:grpSpPr>
      <p:grpSp>
        <p:nvGrpSpPr>
          <p:cNvPr id="3" name="Gruppo 2">
            <a:extLst>
              <a:ext uri="{FF2B5EF4-FFF2-40B4-BE49-F238E27FC236}">
                <a16:creationId xmlns:a16="http://schemas.microsoft.com/office/drawing/2014/main" id="{5F3686C7-DF83-47D9-A485-35F4F1D36A69}"/>
              </a:ext>
            </a:extLst>
          </p:cNvPr>
          <p:cNvGrpSpPr/>
          <p:nvPr userDrawn="1"/>
        </p:nvGrpSpPr>
        <p:grpSpPr>
          <a:xfrm>
            <a:off x="0" y="6086479"/>
            <a:ext cx="12192000" cy="600974"/>
            <a:chOff x="0" y="6086479"/>
            <a:chExt cx="12192000" cy="600974"/>
          </a:xfrm>
        </p:grpSpPr>
        <p:sp>
          <p:nvSpPr>
            <p:cNvPr id="4" name="Rettangolo 3">
              <a:extLst>
                <a:ext uri="{FF2B5EF4-FFF2-40B4-BE49-F238E27FC236}">
                  <a16:creationId xmlns:a16="http://schemas.microsoft.com/office/drawing/2014/main" id="{790B36CF-9391-49E9-B599-8B724B6EF267}"/>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6" name="Ovale 5">
              <a:extLst>
                <a:ext uri="{FF2B5EF4-FFF2-40B4-BE49-F238E27FC236}">
                  <a16:creationId xmlns:a16="http://schemas.microsoft.com/office/drawing/2014/main" id="{468CE156-5D60-42B0-A4F9-33FA85537807}"/>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
        <p:nvSpPr>
          <p:cNvPr id="5" name="Segnaposto numero diapositiva 7">
            <a:extLst>
              <a:ext uri="{FF2B5EF4-FFF2-40B4-BE49-F238E27FC236}">
                <a16:creationId xmlns:a16="http://schemas.microsoft.com/office/drawing/2014/main" id="{9E4521A1-4C9D-4795-B551-D151E8856AAE}"/>
              </a:ext>
            </a:extLst>
          </p:cNvPr>
          <p:cNvSpPr>
            <a:spLocks noGrp="1"/>
          </p:cNvSpPr>
          <p:nvPr>
            <p:ph type="sldNum" sz="quarter" idx="4"/>
          </p:nvPr>
        </p:nvSpPr>
        <p:spPr>
          <a:xfrm>
            <a:off x="11091210" y="6189345"/>
            <a:ext cx="600974" cy="395243"/>
          </a:xfrm>
          <a:prstGeom prst="rect">
            <a:avLst/>
          </a:prstGeom>
        </p:spPr>
        <p:txBody>
          <a:bodyPr vert="horz" lIns="0" tIns="0" rIns="0" bIns="0" rtlCol="0" anchor="ctr"/>
          <a:lstStyle>
            <a:lvl1pPr>
              <a:defRPr lang="en-GB" sz="1200" smtClean="0">
                <a:solidFill>
                  <a:schemeClr val="bg1"/>
                </a:solidFill>
              </a:defRPr>
            </a:lvl1pPr>
          </a:lstStyle>
          <a:p>
            <a:pPr algn="ctr" rtl="0"/>
            <a:fld id="{817179DE-9BF3-494C-804F-0C7C90AC8700}" type="slidenum">
              <a:rPr lang="it-IT" noProof="0" smtClean="0"/>
              <a:pPr algn="ctr"/>
              <a:t>‹N›</a:t>
            </a:fld>
            <a:endParaRPr lang="it-IT" noProof="0"/>
          </a:p>
        </p:txBody>
      </p:sp>
    </p:spTree>
    <p:extLst>
      <p:ext uri="{BB962C8B-B14F-4D97-AF65-F5344CB8AC3E}">
        <p14:creationId xmlns:p14="http://schemas.microsoft.com/office/powerpoint/2010/main" val="5403706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iusura">
    <p:spTree>
      <p:nvGrpSpPr>
        <p:cNvPr id="1" name=""/>
        <p:cNvGrpSpPr/>
        <p:nvPr/>
      </p:nvGrpSpPr>
      <p:grpSpPr>
        <a:xfrm>
          <a:off x="0" y="0"/>
          <a:ext cx="0" cy="0"/>
          <a:chOff x="0" y="0"/>
          <a:chExt cx="0" cy="0"/>
        </a:xfrm>
      </p:grpSpPr>
      <p:sp>
        <p:nvSpPr>
          <p:cNvPr id="9" name="Segnaposto immagine 8">
            <a:extLst>
              <a:ext uri="{FF2B5EF4-FFF2-40B4-BE49-F238E27FC236}">
                <a16:creationId xmlns:a16="http://schemas.microsoft.com/office/drawing/2014/main" id="{A46D6285-06A8-4297-915D-0A280359C280}"/>
              </a:ext>
            </a:extLst>
          </p:cNvPr>
          <p:cNvSpPr>
            <a:spLocks noGrp="1"/>
          </p:cNvSpPr>
          <p:nvPr>
            <p:ph type="pic" sz="quarter" idx="10" hasCustomPrompt="1"/>
          </p:nvPr>
        </p:nvSpPr>
        <p:spPr>
          <a:xfrm>
            <a:off x="1" y="0"/>
            <a:ext cx="12192000" cy="6858000"/>
          </a:xfrm>
        </p:spPr>
        <p:txBody>
          <a:bodyPr vert="horz" lIns="91440" tIns="45720" rIns="91440" bIns="45720" rtlCol="0" anchor="ctr" anchorCtr="1">
            <a:normAutofit/>
          </a:bodyPr>
          <a:lstStyle>
            <a:lvl1pPr>
              <a:defRPr lang="en-GB" sz="2400">
                <a:solidFill>
                  <a:schemeClr val="tx1"/>
                </a:solidFill>
              </a:defRPr>
            </a:lvl1pPr>
          </a:lstStyle>
          <a:p>
            <a:pPr marL="0" lvl="0" indent="0" rtl="0">
              <a:buNone/>
            </a:pPr>
            <a:r>
              <a:rPr lang="it-IT" noProof="0"/>
              <a:t>Inserisci immagine</a:t>
            </a:r>
          </a:p>
        </p:txBody>
      </p:sp>
      <p:sp>
        <p:nvSpPr>
          <p:cNvPr id="10" name="Titolo 1">
            <a:extLst>
              <a:ext uri="{FF2B5EF4-FFF2-40B4-BE49-F238E27FC236}">
                <a16:creationId xmlns:a16="http://schemas.microsoft.com/office/drawing/2014/main" id="{A75C086E-F523-4C77-938F-0DB6203DBC43}"/>
              </a:ext>
            </a:extLst>
          </p:cNvPr>
          <p:cNvSpPr>
            <a:spLocks noGrp="1"/>
          </p:cNvSpPr>
          <p:nvPr>
            <p:ph type="ctrTitle" hasCustomPrompt="1"/>
          </p:nvPr>
        </p:nvSpPr>
        <p:spPr>
          <a:xfrm>
            <a:off x="691080" y="2139696"/>
            <a:ext cx="5578995" cy="879928"/>
          </a:xfrm>
        </p:spPr>
        <p:txBody>
          <a:bodyPr vert="horz" lIns="91440" tIns="45720" rIns="91440" bIns="45720" rtlCol="0" anchor="ctr" anchorCtr="0">
            <a:noAutofit/>
          </a:bodyPr>
          <a:lstStyle>
            <a:lvl1pPr algn="l">
              <a:defRPr lang="en-GB" b="0" dirty="0">
                <a:solidFill>
                  <a:schemeClr val="bg1"/>
                </a:solidFill>
              </a:defRPr>
            </a:lvl1pPr>
          </a:lstStyle>
          <a:p>
            <a:pPr marL="0" lvl="0" algn="ctr" rtl="0"/>
            <a:r>
              <a:rPr lang="it-IT" noProof="0"/>
              <a:t>TITOLO</a:t>
            </a:r>
          </a:p>
        </p:txBody>
      </p:sp>
      <p:sp>
        <p:nvSpPr>
          <p:cNvPr id="17" name="Segnaposto testo 4">
            <a:extLst>
              <a:ext uri="{FF2B5EF4-FFF2-40B4-BE49-F238E27FC236}">
                <a16:creationId xmlns:a16="http://schemas.microsoft.com/office/drawing/2014/main" id="{B293AB9F-7C1D-4A06-9F42-4FD67BF2739F}"/>
              </a:ext>
            </a:extLst>
          </p:cNvPr>
          <p:cNvSpPr>
            <a:spLocks noGrp="1"/>
          </p:cNvSpPr>
          <p:nvPr>
            <p:ph type="body" sz="quarter" idx="15" hasCustomPrompt="1"/>
          </p:nvPr>
        </p:nvSpPr>
        <p:spPr>
          <a:xfrm>
            <a:off x="1359075" y="3653097"/>
            <a:ext cx="3695206" cy="276999"/>
          </a:xfrm>
        </p:spPr>
        <p:txBody>
          <a:bodyPr lIns="0" rtlCol="0" anchor="ctr">
            <a:noAutofit/>
          </a:bodyPr>
          <a:lstStyle>
            <a:lvl1pPr marL="0" indent="0">
              <a:lnSpc>
                <a:spcPct val="100000"/>
              </a:lnSpc>
              <a:buNone/>
              <a:defRPr sz="1800" spc="0">
                <a:solidFill>
                  <a:schemeClr val="bg1"/>
                </a:solidFill>
              </a:defRPr>
            </a:lvl1pPr>
          </a:lstStyle>
          <a:p>
            <a:pPr lvl="0" rtl="0"/>
            <a:r>
              <a:rPr lang="it-IT" noProof="0"/>
              <a:t>Nome</a:t>
            </a:r>
          </a:p>
        </p:txBody>
      </p:sp>
      <p:sp>
        <p:nvSpPr>
          <p:cNvPr id="18" name="Segnaposto testo 4">
            <a:extLst>
              <a:ext uri="{FF2B5EF4-FFF2-40B4-BE49-F238E27FC236}">
                <a16:creationId xmlns:a16="http://schemas.microsoft.com/office/drawing/2014/main" id="{224AF9FB-5C6E-4050-AE8D-3B218C0F1DAE}"/>
              </a:ext>
            </a:extLst>
          </p:cNvPr>
          <p:cNvSpPr>
            <a:spLocks noGrp="1"/>
          </p:cNvSpPr>
          <p:nvPr>
            <p:ph type="body" sz="quarter" idx="16" hasCustomPrompt="1"/>
          </p:nvPr>
        </p:nvSpPr>
        <p:spPr>
          <a:xfrm>
            <a:off x="1359075" y="4392151"/>
            <a:ext cx="3695206" cy="276999"/>
          </a:xfrm>
        </p:spPr>
        <p:txBody>
          <a:bodyPr lIns="0" rtlCol="0" anchor="ctr">
            <a:noAutofit/>
          </a:bodyPr>
          <a:lstStyle>
            <a:lvl1pPr marL="0" indent="0">
              <a:lnSpc>
                <a:spcPct val="100000"/>
              </a:lnSpc>
              <a:buNone/>
              <a:defRPr sz="1800" spc="0">
                <a:solidFill>
                  <a:schemeClr val="bg1"/>
                </a:solidFill>
              </a:defRPr>
            </a:lvl1pPr>
          </a:lstStyle>
          <a:p>
            <a:pPr lvl="0" rtl="0"/>
            <a:r>
              <a:rPr lang="it-IT" noProof="0"/>
              <a:t>Telefono</a:t>
            </a:r>
          </a:p>
        </p:txBody>
      </p:sp>
      <p:sp>
        <p:nvSpPr>
          <p:cNvPr id="19" name="Segnaposto testo 4">
            <a:extLst>
              <a:ext uri="{FF2B5EF4-FFF2-40B4-BE49-F238E27FC236}">
                <a16:creationId xmlns:a16="http://schemas.microsoft.com/office/drawing/2014/main" id="{68A48B85-2E0B-42B6-AB4A-1302D3C828F5}"/>
              </a:ext>
            </a:extLst>
          </p:cNvPr>
          <p:cNvSpPr>
            <a:spLocks noGrp="1"/>
          </p:cNvSpPr>
          <p:nvPr>
            <p:ph type="body" sz="quarter" idx="17" hasCustomPrompt="1"/>
          </p:nvPr>
        </p:nvSpPr>
        <p:spPr>
          <a:xfrm>
            <a:off x="1359075" y="5131205"/>
            <a:ext cx="3695206" cy="276999"/>
          </a:xfrm>
        </p:spPr>
        <p:txBody>
          <a:bodyPr lIns="0" rtlCol="0" anchor="ctr">
            <a:noAutofit/>
          </a:bodyPr>
          <a:lstStyle>
            <a:lvl1pPr marL="0" indent="0">
              <a:lnSpc>
                <a:spcPct val="100000"/>
              </a:lnSpc>
              <a:buNone/>
              <a:defRPr sz="1800" spc="0">
                <a:solidFill>
                  <a:schemeClr val="bg1"/>
                </a:solidFill>
              </a:defRPr>
            </a:lvl1pPr>
          </a:lstStyle>
          <a:p>
            <a:pPr lvl="0" rtl="0"/>
            <a:r>
              <a:rPr lang="it-IT" noProof="0"/>
              <a:t>Posta elettronica</a:t>
            </a:r>
          </a:p>
        </p:txBody>
      </p:sp>
      <p:sp>
        <p:nvSpPr>
          <p:cNvPr id="20" name="Segnaposto testo 4">
            <a:extLst>
              <a:ext uri="{FF2B5EF4-FFF2-40B4-BE49-F238E27FC236}">
                <a16:creationId xmlns:a16="http://schemas.microsoft.com/office/drawing/2014/main" id="{9244D33F-3A47-4DE3-8198-7AC5316E31E6}"/>
              </a:ext>
            </a:extLst>
          </p:cNvPr>
          <p:cNvSpPr>
            <a:spLocks noGrp="1"/>
          </p:cNvSpPr>
          <p:nvPr>
            <p:ph type="body" sz="quarter" idx="18" hasCustomPrompt="1"/>
          </p:nvPr>
        </p:nvSpPr>
        <p:spPr>
          <a:xfrm>
            <a:off x="1359075" y="5870258"/>
            <a:ext cx="3695206" cy="276999"/>
          </a:xfrm>
        </p:spPr>
        <p:txBody>
          <a:bodyPr lIns="0" rtlCol="0" anchor="ctr">
            <a:noAutofit/>
          </a:bodyPr>
          <a:lstStyle>
            <a:lvl1pPr marL="0" indent="0">
              <a:lnSpc>
                <a:spcPct val="100000"/>
              </a:lnSpc>
              <a:buNone/>
              <a:defRPr sz="1800" spc="0">
                <a:solidFill>
                  <a:schemeClr val="bg1"/>
                </a:solidFill>
              </a:defRPr>
            </a:lvl1pPr>
          </a:lstStyle>
          <a:p>
            <a:pPr lvl="0" rtl="0"/>
            <a:r>
              <a:rPr lang="it-IT" noProof="0"/>
              <a:t>Sito Web</a:t>
            </a:r>
          </a:p>
        </p:txBody>
      </p:sp>
      <p:sp>
        <p:nvSpPr>
          <p:cNvPr id="3" name="Segnaposto contenuto 2">
            <a:extLst>
              <a:ext uri="{FF2B5EF4-FFF2-40B4-BE49-F238E27FC236}">
                <a16:creationId xmlns:a16="http://schemas.microsoft.com/office/drawing/2014/main" id="{8F220C8B-2E18-4D91-A806-6C7C3940B00F}"/>
              </a:ext>
            </a:extLst>
          </p:cNvPr>
          <p:cNvSpPr>
            <a:spLocks noGrp="1" noChangeAspect="1"/>
          </p:cNvSpPr>
          <p:nvPr>
            <p:ph sz="quarter" idx="19" hasCustomPrompt="1"/>
          </p:nvPr>
        </p:nvSpPr>
        <p:spPr>
          <a:xfrm>
            <a:off x="691080" y="4295744"/>
            <a:ext cx="469813" cy="469812"/>
          </a:xfrm>
          <a:prstGeom prst="ellipse">
            <a:avLst/>
          </a:prstGeom>
          <a:noFill/>
          <a:ln>
            <a:noFill/>
          </a:ln>
        </p:spPr>
        <p:txBody>
          <a:bodyPr lIns="0" tIns="0" rIns="0" bIns="0" rtlCol="0" anchor="ctr">
            <a:noAutofit/>
          </a:bodyPr>
          <a:lstStyle>
            <a:lvl1pPr marL="0" indent="0" algn="ctr">
              <a:buNone/>
              <a:defRPr sz="1050"/>
            </a:lvl1pPr>
          </a:lstStyle>
          <a:p>
            <a:pPr lvl="0" rtl="0"/>
            <a:r>
              <a:rPr lang="it-IT" noProof="0"/>
              <a:t>Icona</a:t>
            </a:r>
          </a:p>
        </p:txBody>
      </p:sp>
      <p:sp>
        <p:nvSpPr>
          <p:cNvPr id="28" name="Segnaposto contenuto 2">
            <a:extLst>
              <a:ext uri="{FF2B5EF4-FFF2-40B4-BE49-F238E27FC236}">
                <a16:creationId xmlns:a16="http://schemas.microsoft.com/office/drawing/2014/main" id="{3D1C5933-D103-4989-B652-C7B692341BC3}"/>
              </a:ext>
            </a:extLst>
          </p:cNvPr>
          <p:cNvSpPr>
            <a:spLocks noGrp="1" noChangeAspect="1"/>
          </p:cNvSpPr>
          <p:nvPr>
            <p:ph sz="quarter" idx="20" hasCustomPrompt="1"/>
          </p:nvPr>
        </p:nvSpPr>
        <p:spPr>
          <a:xfrm>
            <a:off x="691080" y="5034798"/>
            <a:ext cx="469813" cy="469812"/>
          </a:xfrm>
          <a:prstGeom prst="ellipse">
            <a:avLst/>
          </a:prstGeom>
          <a:noFill/>
          <a:ln>
            <a:noFill/>
          </a:ln>
        </p:spPr>
        <p:txBody>
          <a:bodyPr lIns="0" tIns="0" rIns="0" bIns="0" rtlCol="0" anchor="ctr">
            <a:noAutofit/>
          </a:bodyPr>
          <a:lstStyle>
            <a:lvl1pPr marL="0" indent="0" algn="ctr">
              <a:buNone/>
              <a:defRPr sz="1050"/>
            </a:lvl1pPr>
          </a:lstStyle>
          <a:p>
            <a:pPr lvl="0" rtl="0"/>
            <a:r>
              <a:rPr lang="it-IT" noProof="0"/>
              <a:t>Icona</a:t>
            </a:r>
          </a:p>
        </p:txBody>
      </p:sp>
      <p:sp>
        <p:nvSpPr>
          <p:cNvPr id="29" name="Segnaposto contenuto 2">
            <a:extLst>
              <a:ext uri="{FF2B5EF4-FFF2-40B4-BE49-F238E27FC236}">
                <a16:creationId xmlns:a16="http://schemas.microsoft.com/office/drawing/2014/main" id="{A80EBF65-A9A1-4724-B962-DB9B79A924AA}"/>
              </a:ext>
            </a:extLst>
          </p:cNvPr>
          <p:cNvSpPr>
            <a:spLocks noGrp="1" noChangeAspect="1"/>
          </p:cNvSpPr>
          <p:nvPr>
            <p:ph sz="quarter" idx="21" hasCustomPrompt="1"/>
          </p:nvPr>
        </p:nvSpPr>
        <p:spPr>
          <a:xfrm>
            <a:off x="691080" y="5773851"/>
            <a:ext cx="469813" cy="469812"/>
          </a:xfrm>
          <a:prstGeom prst="ellipse">
            <a:avLst/>
          </a:prstGeom>
          <a:noFill/>
          <a:ln>
            <a:noFill/>
          </a:ln>
        </p:spPr>
        <p:txBody>
          <a:bodyPr lIns="0" tIns="0" rIns="0" bIns="0" rtlCol="0" anchor="ctr">
            <a:noAutofit/>
          </a:bodyPr>
          <a:lstStyle>
            <a:lvl1pPr marL="0" indent="0" algn="ctr">
              <a:buNone/>
              <a:defRPr sz="1050"/>
            </a:lvl1pPr>
          </a:lstStyle>
          <a:p>
            <a:pPr lvl="0" rtl="0"/>
            <a:r>
              <a:rPr lang="it-IT" noProof="0"/>
              <a:t>Icona</a:t>
            </a:r>
          </a:p>
        </p:txBody>
      </p:sp>
      <p:sp>
        <p:nvSpPr>
          <p:cNvPr id="30" name="Segnaposto contenuto 2">
            <a:extLst>
              <a:ext uri="{FF2B5EF4-FFF2-40B4-BE49-F238E27FC236}">
                <a16:creationId xmlns:a16="http://schemas.microsoft.com/office/drawing/2014/main" id="{06251342-E6E3-4C57-A0A9-C7BB3DCAE115}"/>
              </a:ext>
            </a:extLst>
          </p:cNvPr>
          <p:cNvSpPr>
            <a:spLocks noGrp="1" noChangeAspect="1"/>
          </p:cNvSpPr>
          <p:nvPr>
            <p:ph sz="quarter" idx="22" hasCustomPrompt="1"/>
          </p:nvPr>
        </p:nvSpPr>
        <p:spPr>
          <a:xfrm>
            <a:off x="691080" y="3556690"/>
            <a:ext cx="469813" cy="469812"/>
          </a:xfrm>
          <a:prstGeom prst="ellipse">
            <a:avLst/>
          </a:prstGeom>
          <a:noFill/>
          <a:ln>
            <a:noFill/>
          </a:ln>
        </p:spPr>
        <p:txBody>
          <a:bodyPr lIns="0" tIns="0" rIns="0" bIns="0" rtlCol="0" anchor="ctr">
            <a:noAutofit/>
          </a:bodyPr>
          <a:lstStyle>
            <a:lvl1pPr marL="0" indent="0" algn="ctr">
              <a:buNone/>
              <a:defRPr sz="1050"/>
            </a:lvl1pPr>
          </a:lstStyle>
          <a:p>
            <a:pPr lvl="0" rtl="0"/>
            <a:r>
              <a:rPr lang="it-IT" noProof="0"/>
              <a:t>Icona</a:t>
            </a:r>
          </a:p>
        </p:txBody>
      </p:sp>
    </p:spTree>
    <p:extLst>
      <p:ext uri="{BB962C8B-B14F-4D97-AF65-F5344CB8AC3E}">
        <p14:creationId xmlns:p14="http://schemas.microsoft.com/office/powerpoint/2010/main" val="41693542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1744DE2-A455-46F2-BE15-959050C87CE4}"/>
              </a:ext>
            </a:extLst>
          </p:cNvPr>
          <p:cNvSpPr>
            <a:spLocks noGrp="1"/>
          </p:cNvSpPr>
          <p:nvPr>
            <p:ph type="ctrTitle" hasCustomPrompt="1"/>
          </p:nvPr>
        </p:nvSpPr>
        <p:spPr>
          <a:xfrm>
            <a:off x="7274144" y="1291772"/>
            <a:ext cx="4379976" cy="3611880"/>
          </a:xfrm>
        </p:spPr>
        <p:txBody>
          <a:bodyPr vert="horz" lIns="91440" tIns="45720" rIns="91440" bIns="45720" rtlCol="0" anchor="b" anchorCtr="1">
            <a:noAutofit/>
          </a:bodyPr>
          <a:lstStyle>
            <a:lvl1pPr>
              <a:defRPr lang="en-GB" dirty="0"/>
            </a:lvl1pPr>
          </a:lstStyle>
          <a:p>
            <a:pPr marL="0" lvl="0" algn="ctr" rtl="0"/>
            <a:r>
              <a:rPr lang="it-IT" noProof="0"/>
              <a:t>TITOLO</a:t>
            </a:r>
          </a:p>
        </p:txBody>
      </p:sp>
      <p:sp>
        <p:nvSpPr>
          <p:cNvPr id="3" name="Sottotitolo 2">
            <a:extLst>
              <a:ext uri="{FF2B5EF4-FFF2-40B4-BE49-F238E27FC236}">
                <a16:creationId xmlns:a16="http://schemas.microsoft.com/office/drawing/2014/main" id="{AC9DE4F3-CE8F-41A0-BFDE-76D0DF1DF432}"/>
              </a:ext>
            </a:extLst>
          </p:cNvPr>
          <p:cNvSpPr>
            <a:spLocks noGrp="1"/>
          </p:cNvSpPr>
          <p:nvPr>
            <p:ph type="subTitle" idx="1" hasCustomPrompt="1"/>
          </p:nvPr>
        </p:nvSpPr>
        <p:spPr>
          <a:xfrm>
            <a:off x="7389079" y="5392401"/>
            <a:ext cx="4178808" cy="521208"/>
          </a:xfrm>
        </p:spPr>
        <p:txBody>
          <a:bodyPr vert="horz" lIns="91440" tIns="45720" rIns="91440" bIns="45720" rtlCol="0" anchor="t">
            <a:noAutofit/>
          </a:bodyPr>
          <a:lstStyle>
            <a:lvl1pPr marL="0" indent="0" algn="ctr">
              <a:buNone/>
              <a:defRPr lang="en-US" sz="1800" dirty="0">
                <a:solidFill>
                  <a:srgbClr val="B2606E"/>
                </a:solidFill>
              </a:defRPr>
            </a:lvl1pPr>
          </a:lstStyle>
          <a:p>
            <a:pPr lvl="0" rtl="0"/>
            <a:r>
              <a:rPr lang="it-IT" noProof="0"/>
              <a:t>Sottotitolo</a:t>
            </a:r>
          </a:p>
        </p:txBody>
      </p:sp>
      <p:grpSp>
        <p:nvGrpSpPr>
          <p:cNvPr id="6" name="Gruppo 5">
            <a:extLst>
              <a:ext uri="{FF2B5EF4-FFF2-40B4-BE49-F238E27FC236}">
                <a16:creationId xmlns:a16="http://schemas.microsoft.com/office/drawing/2014/main" id="{EFDB39AB-B644-434A-9D55-AF3455D468E5}"/>
              </a:ext>
            </a:extLst>
          </p:cNvPr>
          <p:cNvGrpSpPr/>
          <p:nvPr userDrawn="1"/>
        </p:nvGrpSpPr>
        <p:grpSpPr>
          <a:xfrm>
            <a:off x="9140346" y="5054600"/>
            <a:ext cx="676275" cy="114300"/>
            <a:chOff x="9330846" y="5054600"/>
            <a:chExt cx="676275" cy="114300"/>
          </a:xfrm>
        </p:grpSpPr>
        <p:sp>
          <p:nvSpPr>
            <p:cNvPr id="7" name="Ovale 6">
              <a:extLst>
                <a:ext uri="{FF2B5EF4-FFF2-40B4-BE49-F238E27FC236}">
                  <a16:creationId xmlns:a16="http://schemas.microsoft.com/office/drawing/2014/main" id="{BF14E129-1970-4994-89E5-F7A67128AFE3}"/>
                </a:ext>
              </a:extLst>
            </p:cNvPr>
            <p:cNvSpPr/>
            <p:nvPr/>
          </p:nvSpPr>
          <p:spPr>
            <a:xfrm>
              <a:off x="933084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8" name="Ovale 7">
              <a:extLst>
                <a:ext uri="{FF2B5EF4-FFF2-40B4-BE49-F238E27FC236}">
                  <a16:creationId xmlns:a16="http://schemas.microsoft.com/office/drawing/2014/main" id="{593336FA-97B2-4528-88E8-5FF97F86E216}"/>
                </a:ext>
              </a:extLst>
            </p:cNvPr>
            <p:cNvSpPr/>
            <p:nvPr/>
          </p:nvSpPr>
          <p:spPr>
            <a:xfrm>
              <a:off x="951817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9" name="Ovale 8">
              <a:extLst>
                <a:ext uri="{FF2B5EF4-FFF2-40B4-BE49-F238E27FC236}">
                  <a16:creationId xmlns:a16="http://schemas.microsoft.com/office/drawing/2014/main" id="{8A73C166-FCDF-40AE-8B0D-69C7E2C8573E}"/>
                </a:ext>
              </a:extLst>
            </p:cNvPr>
            <p:cNvSpPr/>
            <p:nvPr/>
          </p:nvSpPr>
          <p:spPr>
            <a:xfrm>
              <a:off x="970549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1" name="Ovale 10">
              <a:extLst>
                <a:ext uri="{FF2B5EF4-FFF2-40B4-BE49-F238E27FC236}">
                  <a16:creationId xmlns:a16="http://schemas.microsoft.com/office/drawing/2014/main" id="{EF418119-E3DD-44B0-A4AF-F8A98EC5863B}"/>
                </a:ext>
              </a:extLst>
            </p:cNvPr>
            <p:cNvSpPr/>
            <p:nvPr/>
          </p:nvSpPr>
          <p:spPr>
            <a:xfrm>
              <a:off x="989282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
        <p:nvSpPr>
          <p:cNvPr id="13" name="Figura a mano libera: Forma 12">
            <a:extLst>
              <a:ext uri="{FF2B5EF4-FFF2-40B4-BE49-F238E27FC236}">
                <a16:creationId xmlns:a16="http://schemas.microsoft.com/office/drawing/2014/main" id="{5BE10AC4-CBFC-4ECF-92D5-9CE1874F58D7}"/>
              </a:ext>
            </a:extLst>
          </p:cNvPr>
          <p:cNvSpPr/>
          <p:nvPr userDrawn="1"/>
        </p:nvSpPr>
        <p:spPr>
          <a:xfrm>
            <a:off x="0" y="0"/>
            <a:ext cx="8568965" cy="6858000"/>
          </a:xfrm>
          <a:custGeom>
            <a:avLst/>
            <a:gdLst>
              <a:gd name="connsiteX0" fmla="*/ 0 w 3522381"/>
              <a:gd name="connsiteY0" fmla="*/ 0 h 6858000"/>
              <a:gd name="connsiteX1" fmla="*/ 3522381 w 3522381"/>
              <a:gd name="connsiteY1" fmla="*/ 0 h 6858000"/>
              <a:gd name="connsiteX2" fmla="*/ 51547 w 3522381"/>
              <a:gd name="connsiteY2" fmla="*/ 6858000 h 6858000"/>
              <a:gd name="connsiteX3" fmla="*/ 0 w 35223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22381" h="6858000">
                <a:moveTo>
                  <a:pt x="0" y="0"/>
                </a:moveTo>
                <a:lnTo>
                  <a:pt x="3522381" y="0"/>
                </a:lnTo>
                <a:lnTo>
                  <a:pt x="51547" y="6858000"/>
                </a:lnTo>
                <a:lnTo>
                  <a:pt x="0" y="6858000"/>
                </a:lnTo>
                <a:close/>
              </a:path>
            </a:pathLst>
          </a:custGeom>
          <a:solidFill>
            <a:schemeClr val="bg1">
              <a:lumMod val="95000"/>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noProof="0"/>
          </a:p>
        </p:txBody>
      </p:sp>
    </p:spTree>
    <p:extLst>
      <p:ext uri="{BB962C8B-B14F-4D97-AF65-F5344CB8AC3E}">
        <p14:creationId xmlns:p14="http://schemas.microsoft.com/office/powerpoint/2010/main" val="24667344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testazione sezione">
    <p:spTree>
      <p:nvGrpSpPr>
        <p:cNvPr id="1" name=""/>
        <p:cNvGrpSpPr/>
        <p:nvPr/>
      </p:nvGrpSpPr>
      <p:grpSpPr>
        <a:xfrm>
          <a:off x="0" y="0"/>
          <a:ext cx="0" cy="0"/>
          <a:chOff x="0" y="0"/>
          <a:chExt cx="0" cy="0"/>
        </a:xfrm>
      </p:grpSpPr>
      <p:sp>
        <p:nvSpPr>
          <p:cNvPr id="10" name="Figura a mano libera: Forma 9">
            <a:extLst>
              <a:ext uri="{FF2B5EF4-FFF2-40B4-BE49-F238E27FC236}">
                <a16:creationId xmlns:a16="http://schemas.microsoft.com/office/drawing/2014/main" id="{B305EBB3-0F16-4B63-82ED-191AB224B8E2}"/>
              </a:ext>
            </a:extLst>
          </p:cNvPr>
          <p:cNvSpPr/>
          <p:nvPr userDrawn="1"/>
        </p:nvSpPr>
        <p:spPr>
          <a:xfrm>
            <a:off x="4334810" y="0"/>
            <a:ext cx="3522381" cy="6858000"/>
          </a:xfrm>
          <a:custGeom>
            <a:avLst/>
            <a:gdLst>
              <a:gd name="connsiteX0" fmla="*/ 0 w 3522381"/>
              <a:gd name="connsiteY0" fmla="*/ 0 h 6858000"/>
              <a:gd name="connsiteX1" fmla="*/ 3522381 w 3522381"/>
              <a:gd name="connsiteY1" fmla="*/ 0 h 6858000"/>
              <a:gd name="connsiteX2" fmla="*/ 51547 w 3522381"/>
              <a:gd name="connsiteY2" fmla="*/ 6858000 h 6858000"/>
              <a:gd name="connsiteX3" fmla="*/ 0 w 35223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22381" h="6858000">
                <a:moveTo>
                  <a:pt x="0" y="0"/>
                </a:moveTo>
                <a:lnTo>
                  <a:pt x="3522381" y="0"/>
                </a:lnTo>
                <a:lnTo>
                  <a:pt x="51547" y="6858000"/>
                </a:lnTo>
                <a:lnTo>
                  <a:pt x="0" y="6858000"/>
                </a:lnTo>
                <a:close/>
              </a:path>
            </a:pathLst>
          </a:custGeom>
          <a:solidFill>
            <a:schemeClr val="bg1">
              <a:lumMod val="95000"/>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noProof="0"/>
          </a:p>
        </p:txBody>
      </p:sp>
      <p:sp>
        <p:nvSpPr>
          <p:cNvPr id="2" name="Titolo 1">
            <a:extLst>
              <a:ext uri="{FF2B5EF4-FFF2-40B4-BE49-F238E27FC236}">
                <a16:creationId xmlns:a16="http://schemas.microsoft.com/office/drawing/2014/main" id="{C1744DE2-A455-46F2-BE15-959050C87CE4}"/>
              </a:ext>
            </a:extLst>
          </p:cNvPr>
          <p:cNvSpPr>
            <a:spLocks noGrp="1"/>
          </p:cNvSpPr>
          <p:nvPr>
            <p:ph type="ctrTitle" hasCustomPrompt="1"/>
          </p:nvPr>
        </p:nvSpPr>
        <p:spPr>
          <a:xfrm>
            <a:off x="7274144" y="1291772"/>
            <a:ext cx="4379976" cy="3611880"/>
          </a:xfrm>
        </p:spPr>
        <p:txBody>
          <a:bodyPr vert="horz" lIns="91440" tIns="45720" rIns="91440" bIns="45720" rtlCol="0" anchor="b" anchorCtr="1">
            <a:noAutofit/>
          </a:bodyPr>
          <a:lstStyle>
            <a:lvl1pPr>
              <a:defRPr lang="en-GB" dirty="0"/>
            </a:lvl1pPr>
          </a:lstStyle>
          <a:p>
            <a:pPr marL="0" lvl="0" algn="ctr" rtl="0"/>
            <a:r>
              <a:rPr lang="it-IT" noProof="0"/>
              <a:t>TITOLO</a:t>
            </a:r>
          </a:p>
        </p:txBody>
      </p:sp>
      <p:sp>
        <p:nvSpPr>
          <p:cNvPr id="3" name="Sottotitolo 2">
            <a:extLst>
              <a:ext uri="{FF2B5EF4-FFF2-40B4-BE49-F238E27FC236}">
                <a16:creationId xmlns:a16="http://schemas.microsoft.com/office/drawing/2014/main" id="{AC9DE4F3-CE8F-41A0-BFDE-76D0DF1DF432}"/>
              </a:ext>
            </a:extLst>
          </p:cNvPr>
          <p:cNvSpPr>
            <a:spLocks noGrp="1"/>
          </p:cNvSpPr>
          <p:nvPr>
            <p:ph type="subTitle" idx="1" hasCustomPrompt="1"/>
          </p:nvPr>
        </p:nvSpPr>
        <p:spPr>
          <a:xfrm>
            <a:off x="7389079" y="5392401"/>
            <a:ext cx="4178808" cy="521208"/>
          </a:xfrm>
        </p:spPr>
        <p:txBody>
          <a:bodyPr vert="horz" lIns="91440" tIns="45720" rIns="91440" bIns="45720" rtlCol="0" anchor="t">
            <a:noAutofit/>
          </a:bodyPr>
          <a:lstStyle>
            <a:lvl1pPr marL="0" indent="0" algn="ctr">
              <a:buNone/>
              <a:defRPr lang="en-US" sz="1800" dirty="0">
                <a:solidFill>
                  <a:srgbClr val="B2606E"/>
                </a:solidFill>
              </a:defRPr>
            </a:lvl1pPr>
          </a:lstStyle>
          <a:p>
            <a:pPr lvl="0" rtl="0"/>
            <a:r>
              <a:rPr lang="it-IT" noProof="0"/>
              <a:t>Sottotitolo</a:t>
            </a:r>
          </a:p>
        </p:txBody>
      </p:sp>
      <p:grpSp>
        <p:nvGrpSpPr>
          <p:cNvPr id="6" name="Gruppo 5">
            <a:extLst>
              <a:ext uri="{FF2B5EF4-FFF2-40B4-BE49-F238E27FC236}">
                <a16:creationId xmlns:a16="http://schemas.microsoft.com/office/drawing/2014/main" id="{EFDB39AB-B644-434A-9D55-AF3455D468E5}"/>
              </a:ext>
            </a:extLst>
          </p:cNvPr>
          <p:cNvGrpSpPr/>
          <p:nvPr userDrawn="1"/>
        </p:nvGrpSpPr>
        <p:grpSpPr>
          <a:xfrm>
            <a:off x="9140346" y="5054600"/>
            <a:ext cx="676275" cy="114300"/>
            <a:chOff x="9330846" y="5054600"/>
            <a:chExt cx="676275" cy="114300"/>
          </a:xfrm>
        </p:grpSpPr>
        <p:sp>
          <p:nvSpPr>
            <p:cNvPr id="7" name="Ovale 6">
              <a:extLst>
                <a:ext uri="{FF2B5EF4-FFF2-40B4-BE49-F238E27FC236}">
                  <a16:creationId xmlns:a16="http://schemas.microsoft.com/office/drawing/2014/main" id="{BF14E129-1970-4994-89E5-F7A67128AFE3}"/>
                </a:ext>
              </a:extLst>
            </p:cNvPr>
            <p:cNvSpPr/>
            <p:nvPr/>
          </p:nvSpPr>
          <p:spPr>
            <a:xfrm>
              <a:off x="933084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8" name="Ovale 7">
              <a:extLst>
                <a:ext uri="{FF2B5EF4-FFF2-40B4-BE49-F238E27FC236}">
                  <a16:creationId xmlns:a16="http://schemas.microsoft.com/office/drawing/2014/main" id="{593336FA-97B2-4528-88E8-5FF97F86E216}"/>
                </a:ext>
              </a:extLst>
            </p:cNvPr>
            <p:cNvSpPr/>
            <p:nvPr/>
          </p:nvSpPr>
          <p:spPr>
            <a:xfrm>
              <a:off x="951817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9" name="Ovale 8">
              <a:extLst>
                <a:ext uri="{FF2B5EF4-FFF2-40B4-BE49-F238E27FC236}">
                  <a16:creationId xmlns:a16="http://schemas.microsoft.com/office/drawing/2014/main" id="{8A73C166-FCDF-40AE-8B0D-69C7E2C8573E}"/>
                </a:ext>
              </a:extLst>
            </p:cNvPr>
            <p:cNvSpPr/>
            <p:nvPr/>
          </p:nvSpPr>
          <p:spPr>
            <a:xfrm>
              <a:off x="970549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1" name="Ovale 10">
              <a:extLst>
                <a:ext uri="{FF2B5EF4-FFF2-40B4-BE49-F238E27FC236}">
                  <a16:creationId xmlns:a16="http://schemas.microsoft.com/office/drawing/2014/main" id="{EF418119-E3DD-44B0-A4AF-F8A98EC5863B}"/>
                </a:ext>
              </a:extLst>
            </p:cNvPr>
            <p:cNvSpPr/>
            <p:nvPr/>
          </p:nvSpPr>
          <p:spPr>
            <a:xfrm>
              <a:off x="989282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Tree>
    <p:extLst>
      <p:ext uri="{BB962C8B-B14F-4D97-AF65-F5344CB8AC3E}">
        <p14:creationId xmlns:p14="http://schemas.microsoft.com/office/powerpoint/2010/main" val="38734915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815864" cy="830997"/>
          </a:xfrm>
        </p:spPr>
        <p:txBody>
          <a:bodyPr vert="horz" wrap="square" lIns="0" tIns="45720" rIns="91440" bIns="45720" rtlCol="0" anchor="t">
            <a:noAutofit/>
          </a:bodyPr>
          <a:lstStyle>
            <a:lvl1pPr>
              <a:defRPr lang="en-GB" sz="2400">
                <a:solidFill>
                  <a:schemeClr val="tx1"/>
                </a:solidFill>
                <a:latin typeface="Corbel" panose="020B0503020204020204" pitchFamily="34" charset="0"/>
              </a:defRPr>
            </a:lvl1pPr>
          </a:lstStyle>
          <a:p>
            <a:pPr lvl="0" rtl="0">
              <a:lnSpc>
                <a:spcPct val="100000"/>
              </a:lnSpc>
            </a:pPr>
            <a:r>
              <a:rPr lang="it-IT" noProof="0"/>
              <a:t>Fare clic per modificare lo stile del titolo dello schema</a:t>
            </a:r>
          </a:p>
        </p:txBody>
      </p:sp>
      <p:grpSp>
        <p:nvGrpSpPr>
          <p:cNvPr id="4" name="Gruppo 3">
            <a:extLst>
              <a:ext uri="{FF2B5EF4-FFF2-40B4-BE49-F238E27FC236}">
                <a16:creationId xmlns:a16="http://schemas.microsoft.com/office/drawing/2014/main" id="{859AE304-DA92-45D8-B258-61BEA6C99C0E}"/>
              </a:ext>
            </a:extLst>
          </p:cNvPr>
          <p:cNvGrpSpPr/>
          <p:nvPr userDrawn="1"/>
        </p:nvGrpSpPr>
        <p:grpSpPr>
          <a:xfrm>
            <a:off x="0" y="6086479"/>
            <a:ext cx="12192000" cy="600974"/>
            <a:chOff x="0" y="6086479"/>
            <a:chExt cx="12192000" cy="600974"/>
          </a:xfrm>
        </p:grpSpPr>
        <p:sp>
          <p:nvSpPr>
            <p:cNvPr id="5" name="Rettangolo 4">
              <a:extLst>
                <a:ext uri="{FF2B5EF4-FFF2-40B4-BE49-F238E27FC236}">
                  <a16:creationId xmlns:a16="http://schemas.microsoft.com/office/drawing/2014/main" id="{6BF91D02-B4A9-4013-94B6-079A8D06DE1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7" name="Ovale 6">
              <a:extLst>
                <a:ext uri="{FF2B5EF4-FFF2-40B4-BE49-F238E27FC236}">
                  <a16:creationId xmlns:a16="http://schemas.microsoft.com/office/drawing/2014/main" id="{74DAC864-782A-48D4-8E15-9B35C60421BB}"/>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
        <p:nvSpPr>
          <p:cNvPr id="8" name="Segnaposto numero diapositiva 5">
            <a:extLst>
              <a:ext uri="{FF2B5EF4-FFF2-40B4-BE49-F238E27FC236}">
                <a16:creationId xmlns:a16="http://schemas.microsoft.com/office/drawing/2014/main" id="{73B7B0E2-E4FA-4B45-89A6-98E4C4DC1D24}"/>
              </a:ext>
            </a:extLst>
          </p:cNvPr>
          <p:cNvSpPr txBox="1">
            <a:spLocks/>
          </p:cNvSpPr>
          <p:nvPr userDrawn="1"/>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noProof="0" smtClean="0">
                <a:solidFill>
                  <a:schemeClr val="bg1"/>
                </a:solidFill>
              </a:rPr>
              <a:pPr algn="ctr"/>
              <a:t>‹N›</a:t>
            </a:fld>
            <a:endParaRPr lang="it-IT" sz="1200" noProof="0">
              <a:solidFill>
                <a:schemeClr val="bg1"/>
              </a:solidFill>
            </a:endParaRPr>
          </a:p>
        </p:txBody>
      </p:sp>
      <p:sp>
        <p:nvSpPr>
          <p:cNvPr id="9" name="Segnaposto contenuto 2">
            <a:extLst>
              <a:ext uri="{FF2B5EF4-FFF2-40B4-BE49-F238E27FC236}">
                <a16:creationId xmlns:a16="http://schemas.microsoft.com/office/drawing/2014/main" id="{C7BBA6D3-FEB9-412B-8FBB-095FC3A60ABF}"/>
              </a:ext>
            </a:extLst>
          </p:cNvPr>
          <p:cNvSpPr>
            <a:spLocks noGrp="1"/>
          </p:cNvSpPr>
          <p:nvPr>
            <p:ph idx="1"/>
          </p:nvPr>
        </p:nvSpPr>
        <p:spPr>
          <a:xfrm>
            <a:off x="633186" y="1825625"/>
            <a:ext cx="10815864" cy="4351338"/>
          </a:xfrm>
        </p:spPr>
        <p:txBody>
          <a:bodyPr rtlCol="0"/>
          <a:lstStyle/>
          <a:p>
            <a:pPr lvl="0" rtl="0"/>
            <a:r>
              <a:rPr lang="it-IT" noProof="0"/>
              <a:t>Fare clic per modificare gli stili del testo dello schema</a:t>
            </a:r>
          </a:p>
          <a:p>
            <a:pPr lvl="1" rtl="0"/>
            <a:r>
              <a:rPr lang="it-IT" noProof="0"/>
              <a:t>Secondo livello</a:t>
            </a:r>
          </a:p>
          <a:p>
            <a:pPr lvl="2" rtl="0"/>
            <a:r>
              <a:rPr lang="it-IT" noProof="0"/>
              <a:t>Terzo livello</a:t>
            </a:r>
          </a:p>
          <a:p>
            <a:pPr lvl="3" rtl="0"/>
            <a:r>
              <a:rPr lang="it-IT" noProof="0"/>
              <a:t>Quarto livello</a:t>
            </a:r>
          </a:p>
          <a:p>
            <a:pPr lvl="4" rtl="0"/>
            <a:r>
              <a:rPr lang="it-IT" noProof="0"/>
              <a:t>Quinto livello</a:t>
            </a:r>
          </a:p>
        </p:txBody>
      </p:sp>
    </p:spTree>
    <p:extLst>
      <p:ext uri="{BB962C8B-B14F-4D97-AF65-F5344CB8AC3E}">
        <p14:creationId xmlns:p14="http://schemas.microsoft.com/office/powerpoint/2010/main" val="2010023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815864" cy="830997"/>
          </a:xfrm>
        </p:spPr>
        <p:txBody>
          <a:bodyPr vert="horz" wrap="square" lIns="0" tIns="45720" rIns="91440" bIns="45720" rtlCol="0" anchor="t">
            <a:noAutofit/>
          </a:bodyPr>
          <a:lstStyle>
            <a:lvl1pPr>
              <a:defRPr lang="en-GB" sz="2400">
                <a:solidFill>
                  <a:schemeClr val="tx1"/>
                </a:solidFill>
                <a:latin typeface="Corbel" panose="020B0503020204020204" pitchFamily="34" charset="0"/>
              </a:defRPr>
            </a:lvl1pPr>
          </a:lstStyle>
          <a:p>
            <a:pPr lvl="0" rtl="0">
              <a:lnSpc>
                <a:spcPct val="100000"/>
              </a:lnSpc>
            </a:pPr>
            <a:r>
              <a:rPr lang="it-IT" noProof="0"/>
              <a:t>Fare clic per modificare lo stile del titolo dello schema</a:t>
            </a:r>
          </a:p>
        </p:txBody>
      </p:sp>
      <p:grpSp>
        <p:nvGrpSpPr>
          <p:cNvPr id="4" name="Gruppo 3">
            <a:extLst>
              <a:ext uri="{FF2B5EF4-FFF2-40B4-BE49-F238E27FC236}">
                <a16:creationId xmlns:a16="http://schemas.microsoft.com/office/drawing/2014/main" id="{859AE304-DA92-45D8-B258-61BEA6C99C0E}"/>
              </a:ext>
            </a:extLst>
          </p:cNvPr>
          <p:cNvGrpSpPr/>
          <p:nvPr userDrawn="1"/>
        </p:nvGrpSpPr>
        <p:grpSpPr>
          <a:xfrm>
            <a:off x="0" y="6086479"/>
            <a:ext cx="12192000" cy="600974"/>
            <a:chOff x="0" y="6086479"/>
            <a:chExt cx="12192000" cy="600974"/>
          </a:xfrm>
        </p:grpSpPr>
        <p:sp>
          <p:nvSpPr>
            <p:cNvPr id="5" name="Rettangolo 4">
              <a:extLst>
                <a:ext uri="{FF2B5EF4-FFF2-40B4-BE49-F238E27FC236}">
                  <a16:creationId xmlns:a16="http://schemas.microsoft.com/office/drawing/2014/main" id="{6BF91D02-B4A9-4013-94B6-079A8D06DE1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7" name="Ovale 6">
              <a:extLst>
                <a:ext uri="{FF2B5EF4-FFF2-40B4-BE49-F238E27FC236}">
                  <a16:creationId xmlns:a16="http://schemas.microsoft.com/office/drawing/2014/main" id="{74DAC864-782A-48D4-8E15-9B35C60421BB}"/>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
        <p:nvSpPr>
          <p:cNvPr id="8" name="Segnaposto numero diapositiva 5">
            <a:extLst>
              <a:ext uri="{FF2B5EF4-FFF2-40B4-BE49-F238E27FC236}">
                <a16:creationId xmlns:a16="http://schemas.microsoft.com/office/drawing/2014/main" id="{73B7B0E2-E4FA-4B45-89A6-98E4C4DC1D24}"/>
              </a:ext>
            </a:extLst>
          </p:cNvPr>
          <p:cNvSpPr txBox="1">
            <a:spLocks/>
          </p:cNvSpPr>
          <p:nvPr userDrawn="1"/>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noProof="0" smtClean="0">
                <a:solidFill>
                  <a:schemeClr val="bg1"/>
                </a:solidFill>
              </a:rPr>
              <a:pPr algn="ctr"/>
              <a:t>‹N›</a:t>
            </a:fld>
            <a:endParaRPr lang="it-IT" sz="1200" noProof="0">
              <a:solidFill>
                <a:schemeClr val="bg1"/>
              </a:solidFill>
            </a:endParaRPr>
          </a:p>
        </p:txBody>
      </p:sp>
      <p:sp>
        <p:nvSpPr>
          <p:cNvPr id="9" name="Segnaposto contenuto 2">
            <a:extLst>
              <a:ext uri="{FF2B5EF4-FFF2-40B4-BE49-F238E27FC236}">
                <a16:creationId xmlns:a16="http://schemas.microsoft.com/office/drawing/2014/main" id="{64A4F74B-B2CD-407C-865A-037EDFAC9DB0}"/>
              </a:ext>
            </a:extLst>
          </p:cNvPr>
          <p:cNvSpPr>
            <a:spLocks noGrp="1"/>
          </p:cNvSpPr>
          <p:nvPr>
            <p:ph sz="half" idx="1"/>
          </p:nvPr>
        </p:nvSpPr>
        <p:spPr>
          <a:xfrm>
            <a:off x="633186" y="1825625"/>
            <a:ext cx="5386614" cy="4351338"/>
          </a:xfrm>
        </p:spPr>
        <p:txBody>
          <a:bodyPr rtlCol="0">
            <a:normAutofit/>
          </a:bodyPr>
          <a:lstStyle>
            <a:lvl1pPr>
              <a:defRPr sz="2000"/>
            </a:lvl1pPr>
            <a:lvl2pPr>
              <a:defRPr sz="1800"/>
            </a:lvl2pPr>
            <a:lvl3pPr>
              <a:defRPr sz="1600"/>
            </a:lvl3pPr>
            <a:lvl4pPr>
              <a:defRPr sz="1400"/>
            </a:lvl4pPr>
            <a:lvl5pPr>
              <a:defRPr sz="1400"/>
            </a:lvl5pPr>
          </a:lstStyle>
          <a:p>
            <a:pPr lvl="0" rtl="0"/>
            <a:r>
              <a:rPr lang="it-IT" noProof="0"/>
              <a:t>Fare clic per modificare gli stili del testo dello schema</a:t>
            </a:r>
          </a:p>
          <a:p>
            <a:pPr lvl="1" rtl="0"/>
            <a:r>
              <a:rPr lang="it-IT" noProof="0"/>
              <a:t>Secondo livello</a:t>
            </a:r>
          </a:p>
          <a:p>
            <a:pPr lvl="2" rtl="0"/>
            <a:r>
              <a:rPr lang="it-IT" noProof="0"/>
              <a:t>Terzo livello</a:t>
            </a:r>
          </a:p>
          <a:p>
            <a:pPr lvl="3" rtl="0"/>
            <a:r>
              <a:rPr lang="it-IT" noProof="0"/>
              <a:t>Quarto livello</a:t>
            </a:r>
          </a:p>
          <a:p>
            <a:pPr lvl="4" rtl="0"/>
            <a:r>
              <a:rPr lang="it-IT" noProof="0"/>
              <a:t>Quinto livello</a:t>
            </a:r>
          </a:p>
        </p:txBody>
      </p:sp>
      <p:sp>
        <p:nvSpPr>
          <p:cNvPr id="10" name="Segnaposto contenuto 3">
            <a:extLst>
              <a:ext uri="{FF2B5EF4-FFF2-40B4-BE49-F238E27FC236}">
                <a16:creationId xmlns:a16="http://schemas.microsoft.com/office/drawing/2014/main" id="{A2548E2E-973A-4D52-ACB9-BF564F407308}"/>
              </a:ext>
            </a:extLst>
          </p:cNvPr>
          <p:cNvSpPr>
            <a:spLocks noGrp="1"/>
          </p:cNvSpPr>
          <p:nvPr>
            <p:ph sz="half" idx="2"/>
          </p:nvPr>
        </p:nvSpPr>
        <p:spPr>
          <a:xfrm>
            <a:off x="6172200" y="1825625"/>
            <a:ext cx="5276850" cy="4351338"/>
          </a:xfrm>
        </p:spPr>
        <p:txBody>
          <a:bodyPr rtlCol="0">
            <a:normAutofit/>
          </a:bodyPr>
          <a:lstStyle>
            <a:lvl1pPr>
              <a:defRPr sz="2000"/>
            </a:lvl1pPr>
            <a:lvl2pPr>
              <a:defRPr sz="1800"/>
            </a:lvl2pPr>
            <a:lvl3pPr>
              <a:defRPr sz="1600"/>
            </a:lvl3pPr>
            <a:lvl4pPr>
              <a:defRPr sz="1400"/>
            </a:lvl4pPr>
            <a:lvl5pPr>
              <a:defRPr sz="1400"/>
            </a:lvl5pPr>
          </a:lstStyle>
          <a:p>
            <a:pPr lvl="0" rtl="0"/>
            <a:r>
              <a:rPr lang="it-IT" noProof="0"/>
              <a:t>Fare clic per modificare gli stili del testo dello schema</a:t>
            </a:r>
          </a:p>
          <a:p>
            <a:pPr lvl="1" rtl="0"/>
            <a:r>
              <a:rPr lang="it-IT" noProof="0"/>
              <a:t>Secondo livello</a:t>
            </a:r>
          </a:p>
          <a:p>
            <a:pPr lvl="2" rtl="0"/>
            <a:r>
              <a:rPr lang="it-IT" noProof="0"/>
              <a:t>Terzo livello</a:t>
            </a:r>
          </a:p>
          <a:p>
            <a:pPr lvl="3" rtl="0"/>
            <a:r>
              <a:rPr lang="it-IT" noProof="0"/>
              <a:t>Quarto livello</a:t>
            </a:r>
          </a:p>
          <a:p>
            <a:pPr lvl="4" rtl="0"/>
            <a:r>
              <a:rPr lang="it-IT" noProof="0"/>
              <a:t>Quinto livello</a:t>
            </a:r>
          </a:p>
        </p:txBody>
      </p:sp>
    </p:spTree>
    <p:extLst>
      <p:ext uri="{BB962C8B-B14F-4D97-AF65-F5344CB8AC3E}">
        <p14:creationId xmlns:p14="http://schemas.microsoft.com/office/powerpoint/2010/main" val="10510698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815864" cy="830997"/>
          </a:xfrm>
        </p:spPr>
        <p:txBody>
          <a:bodyPr vert="horz" wrap="square" lIns="0" tIns="45720" rIns="91440" bIns="45720" rtlCol="0" anchor="t">
            <a:noAutofit/>
          </a:bodyPr>
          <a:lstStyle>
            <a:lvl1pPr>
              <a:defRPr lang="en-GB" sz="2400">
                <a:solidFill>
                  <a:schemeClr val="tx1"/>
                </a:solidFill>
                <a:latin typeface="Corbel" panose="020B0503020204020204" pitchFamily="34" charset="0"/>
              </a:defRPr>
            </a:lvl1pPr>
          </a:lstStyle>
          <a:p>
            <a:pPr lvl="0" rtl="0">
              <a:lnSpc>
                <a:spcPct val="100000"/>
              </a:lnSpc>
            </a:pPr>
            <a:r>
              <a:rPr lang="it-IT" noProof="0"/>
              <a:t>Fare clic per modificare lo stile del titolo dello schema</a:t>
            </a:r>
          </a:p>
        </p:txBody>
      </p:sp>
      <p:grpSp>
        <p:nvGrpSpPr>
          <p:cNvPr id="4" name="Gruppo 3">
            <a:extLst>
              <a:ext uri="{FF2B5EF4-FFF2-40B4-BE49-F238E27FC236}">
                <a16:creationId xmlns:a16="http://schemas.microsoft.com/office/drawing/2014/main" id="{859AE304-DA92-45D8-B258-61BEA6C99C0E}"/>
              </a:ext>
            </a:extLst>
          </p:cNvPr>
          <p:cNvGrpSpPr/>
          <p:nvPr userDrawn="1"/>
        </p:nvGrpSpPr>
        <p:grpSpPr>
          <a:xfrm>
            <a:off x="0" y="6086479"/>
            <a:ext cx="12192000" cy="600974"/>
            <a:chOff x="0" y="6086479"/>
            <a:chExt cx="12192000" cy="600974"/>
          </a:xfrm>
        </p:grpSpPr>
        <p:sp>
          <p:nvSpPr>
            <p:cNvPr id="5" name="Rettangolo 4">
              <a:extLst>
                <a:ext uri="{FF2B5EF4-FFF2-40B4-BE49-F238E27FC236}">
                  <a16:creationId xmlns:a16="http://schemas.microsoft.com/office/drawing/2014/main" id="{6BF91D02-B4A9-4013-94B6-079A8D06DE1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7" name="Ovale 6">
              <a:extLst>
                <a:ext uri="{FF2B5EF4-FFF2-40B4-BE49-F238E27FC236}">
                  <a16:creationId xmlns:a16="http://schemas.microsoft.com/office/drawing/2014/main" id="{74DAC864-782A-48D4-8E15-9B35C60421BB}"/>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
        <p:nvSpPr>
          <p:cNvPr id="8" name="Segnaposto numero diapositiva 5">
            <a:extLst>
              <a:ext uri="{FF2B5EF4-FFF2-40B4-BE49-F238E27FC236}">
                <a16:creationId xmlns:a16="http://schemas.microsoft.com/office/drawing/2014/main" id="{73B7B0E2-E4FA-4B45-89A6-98E4C4DC1D24}"/>
              </a:ext>
            </a:extLst>
          </p:cNvPr>
          <p:cNvSpPr txBox="1">
            <a:spLocks/>
          </p:cNvSpPr>
          <p:nvPr userDrawn="1"/>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noProof="0" smtClean="0">
                <a:solidFill>
                  <a:schemeClr val="bg1"/>
                </a:solidFill>
              </a:rPr>
              <a:pPr algn="ctr"/>
              <a:t>‹N›</a:t>
            </a:fld>
            <a:endParaRPr lang="it-IT" sz="1200" noProof="0">
              <a:solidFill>
                <a:schemeClr val="bg1"/>
              </a:solidFill>
            </a:endParaRPr>
          </a:p>
        </p:txBody>
      </p:sp>
      <p:sp>
        <p:nvSpPr>
          <p:cNvPr id="9" name="Segnaposto testo 2">
            <a:extLst>
              <a:ext uri="{FF2B5EF4-FFF2-40B4-BE49-F238E27FC236}">
                <a16:creationId xmlns:a16="http://schemas.microsoft.com/office/drawing/2014/main" id="{10CD1AD0-C8B7-4785-A47D-D822CF4F248F}"/>
              </a:ext>
            </a:extLst>
          </p:cNvPr>
          <p:cNvSpPr>
            <a:spLocks noGrp="1"/>
          </p:cNvSpPr>
          <p:nvPr>
            <p:ph type="body" idx="1"/>
          </p:nvPr>
        </p:nvSpPr>
        <p:spPr>
          <a:xfrm>
            <a:off x="633186" y="1681163"/>
            <a:ext cx="533214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it-IT" noProof="0"/>
              <a:t>Fare clic per modificare gli stili del testo dello schema</a:t>
            </a:r>
          </a:p>
        </p:txBody>
      </p:sp>
      <p:sp>
        <p:nvSpPr>
          <p:cNvPr id="10" name="Segnaposto testo 4">
            <a:extLst>
              <a:ext uri="{FF2B5EF4-FFF2-40B4-BE49-F238E27FC236}">
                <a16:creationId xmlns:a16="http://schemas.microsoft.com/office/drawing/2014/main" id="{90A1BBCF-EEF1-4C9A-BA10-9657A79560D3}"/>
              </a:ext>
            </a:extLst>
          </p:cNvPr>
          <p:cNvSpPr>
            <a:spLocks noGrp="1"/>
          </p:cNvSpPr>
          <p:nvPr>
            <p:ph type="body" sz="quarter" idx="3"/>
          </p:nvPr>
        </p:nvSpPr>
        <p:spPr>
          <a:xfrm>
            <a:off x="6172200" y="1681163"/>
            <a:ext cx="5276850"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it-IT" noProof="0"/>
              <a:t>Fare clic per modificare gli stili del testo dello schema</a:t>
            </a:r>
          </a:p>
        </p:txBody>
      </p:sp>
      <p:sp>
        <p:nvSpPr>
          <p:cNvPr id="11" name="Segnaposto contenuto 3">
            <a:extLst>
              <a:ext uri="{FF2B5EF4-FFF2-40B4-BE49-F238E27FC236}">
                <a16:creationId xmlns:a16="http://schemas.microsoft.com/office/drawing/2014/main" id="{79F8415A-57A2-4D5C-97B0-E78499CC7C6F}"/>
              </a:ext>
            </a:extLst>
          </p:cNvPr>
          <p:cNvSpPr>
            <a:spLocks noGrp="1"/>
          </p:cNvSpPr>
          <p:nvPr>
            <p:ph sz="half" idx="2"/>
          </p:nvPr>
        </p:nvSpPr>
        <p:spPr>
          <a:xfrm>
            <a:off x="633186" y="2505075"/>
            <a:ext cx="5332147" cy="3684588"/>
          </a:xfrm>
        </p:spPr>
        <p:txBody>
          <a:bodyPr rtlCol="0">
            <a:normAutofit/>
          </a:bodyPr>
          <a:lstStyle>
            <a:lvl1pPr>
              <a:defRPr sz="2000"/>
            </a:lvl1pPr>
            <a:lvl2pPr>
              <a:defRPr sz="1800"/>
            </a:lvl2pPr>
            <a:lvl3pPr>
              <a:defRPr sz="1600"/>
            </a:lvl3pPr>
            <a:lvl4pPr>
              <a:defRPr sz="1400"/>
            </a:lvl4pPr>
            <a:lvl5pPr>
              <a:defRPr sz="1400"/>
            </a:lvl5pPr>
          </a:lstStyle>
          <a:p>
            <a:pPr lvl="0" rtl="0"/>
            <a:r>
              <a:rPr lang="it-IT" noProof="0"/>
              <a:t>Fare clic per modificare gli stili del testo dello schema</a:t>
            </a:r>
          </a:p>
          <a:p>
            <a:pPr lvl="1" rtl="0"/>
            <a:r>
              <a:rPr lang="it-IT" noProof="0"/>
              <a:t>Secondo livello</a:t>
            </a:r>
          </a:p>
          <a:p>
            <a:pPr lvl="2" rtl="0"/>
            <a:r>
              <a:rPr lang="it-IT" noProof="0"/>
              <a:t>Terzo livello</a:t>
            </a:r>
          </a:p>
          <a:p>
            <a:pPr lvl="3" rtl="0"/>
            <a:r>
              <a:rPr lang="it-IT" noProof="0"/>
              <a:t>Quarto livello</a:t>
            </a:r>
          </a:p>
          <a:p>
            <a:pPr lvl="4" rtl="0"/>
            <a:r>
              <a:rPr lang="it-IT" noProof="0"/>
              <a:t>Quinto livello</a:t>
            </a:r>
          </a:p>
        </p:txBody>
      </p:sp>
      <p:sp>
        <p:nvSpPr>
          <p:cNvPr id="12" name="Segnaposto contenuto 5">
            <a:extLst>
              <a:ext uri="{FF2B5EF4-FFF2-40B4-BE49-F238E27FC236}">
                <a16:creationId xmlns:a16="http://schemas.microsoft.com/office/drawing/2014/main" id="{37A31490-A10D-455A-B515-E26064D0E10A}"/>
              </a:ext>
            </a:extLst>
          </p:cNvPr>
          <p:cNvSpPr>
            <a:spLocks noGrp="1"/>
          </p:cNvSpPr>
          <p:nvPr>
            <p:ph sz="quarter" idx="4"/>
          </p:nvPr>
        </p:nvSpPr>
        <p:spPr>
          <a:xfrm>
            <a:off x="6172200" y="2505075"/>
            <a:ext cx="5276850" cy="3684588"/>
          </a:xfrm>
        </p:spPr>
        <p:txBody>
          <a:bodyPr rtlCol="0">
            <a:normAutofit/>
          </a:bodyPr>
          <a:lstStyle>
            <a:lvl1pPr>
              <a:defRPr sz="2000"/>
            </a:lvl1pPr>
            <a:lvl2pPr>
              <a:defRPr sz="1800"/>
            </a:lvl2pPr>
            <a:lvl3pPr>
              <a:defRPr sz="1600"/>
            </a:lvl3pPr>
            <a:lvl4pPr>
              <a:defRPr sz="1400"/>
            </a:lvl4pPr>
            <a:lvl5pPr>
              <a:defRPr sz="1400"/>
            </a:lvl5pPr>
          </a:lstStyle>
          <a:p>
            <a:pPr lvl="0" rtl="0"/>
            <a:r>
              <a:rPr lang="it-IT" noProof="0"/>
              <a:t>Fare clic per modificare gli stili del testo dello schema</a:t>
            </a:r>
          </a:p>
          <a:p>
            <a:pPr lvl="1" rtl="0"/>
            <a:r>
              <a:rPr lang="it-IT" noProof="0"/>
              <a:t>Secondo livello</a:t>
            </a:r>
          </a:p>
          <a:p>
            <a:pPr lvl="2" rtl="0"/>
            <a:r>
              <a:rPr lang="it-IT" noProof="0"/>
              <a:t>Terzo livello</a:t>
            </a:r>
          </a:p>
          <a:p>
            <a:pPr lvl="3" rtl="0"/>
            <a:r>
              <a:rPr lang="it-IT" noProof="0"/>
              <a:t>Quarto livello</a:t>
            </a:r>
          </a:p>
          <a:p>
            <a:pPr lvl="4" rtl="0"/>
            <a:r>
              <a:rPr lang="it-IT" noProof="0"/>
              <a:t>Quinto livello</a:t>
            </a:r>
          </a:p>
        </p:txBody>
      </p:sp>
    </p:spTree>
    <p:extLst>
      <p:ext uri="{BB962C8B-B14F-4D97-AF65-F5344CB8AC3E}">
        <p14:creationId xmlns:p14="http://schemas.microsoft.com/office/powerpoint/2010/main" val="19490708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uto con didascalia">
    <p:spTree>
      <p:nvGrpSpPr>
        <p:cNvPr id="1" name=""/>
        <p:cNvGrpSpPr/>
        <p:nvPr/>
      </p:nvGrpSpPr>
      <p:grpSpPr>
        <a:xfrm>
          <a:off x="0" y="0"/>
          <a:ext cx="0" cy="0"/>
          <a:chOff x="0" y="0"/>
          <a:chExt cx="0" cy="0"/>
        </a:xfrm>
      </p:grpSpPr>
      <p:grpSp>
        <p:nvGrpSpPr>
          <p:cNvPr id="4" name="Gruppo 3">
            <a:extLst>
              <a:ext uri="{FF2B5EF4-FFF2-40B4-BE49-F238E27FC236}">
                <a16:creationId xmlns:a16="http://schemas.microsoft.com/office/drawing/2014/main" id="{859AE304-DA92-45D8-B258-61BEA6C99C0E}"/>
              </a:ext>
            </a:extLst>
          </p:cNvPr>
          <p:cNvGrpSpPr/>
          <p:nvPr userDrawn="1"/>
        </p:nvGrpSpPr>
        <p:grpSpPr>
          <a:xfrm>
            <a:off x="0" y="6086479"/>
            <a:ext cx="12192000" cy="600974"/>
            <a:chOff x="0" y="6086479"/>
            <a:chExt cx="12192000" cy="600974"/>
          </a:xfrm>
        </p:grpSpPr>
        <p:sp>
          <p:nvSpPr>
            <p:cNvPr id="5" name="Rettangolo 4">
              <a:extLst>
                <a:ext uri="{FF2B5EF4-FFF2-40B4-BE49-F238E27FC236}">
                  <a16:creationId xmlns:a16="http://schemas.microsoft.com/office/drawing/2014/main" id="{6BF91D02-B4A9-4013-94B6-079A8D06DE1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7" name="Ovale 6">
              <a:extLst>
                <a:ext uri="{FF2B5EF4-FFF2-40B4-BE49-F238E27FC236}">
                  <a16:creationId xmlns:a16="http://schemas.microsoft.com/office/drawing/2014/main" id="{74DAC864-782A-48D4-8E15-9B35C60421BB}"/>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
        <p:nvSpPr>
          <p:cNvPr id="8" name="Segnaposto numero diapositiva 5">
            <a:extLst>
              <a:ext uri="{FF2B5EF4-FFF2-40B4-BE49-F238E27FC236}">
                <a16:creationId xmlns:a16="http://schemas.microsoft.com/office/drawing/2014/main" id="{73B7B0E2-E4FA-4B45-89A6-98E4C4DC1D24}"/>
              </a:ext>
            </a:extLst>
          </p:cNvPr>
          <p:cNvSpPr txBox="1">
            <a:spLocks/>
          </p:cNvSpPr>
          <p:nvPr userDrawn="1"/>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noProof="0" smtClean="0">
                <a:solidFill>
                  <a:schemeClr val="bg1"/>
                </a:solidFill>
              </a:rPr>
              <a:pPr algn="ctr"/>
              <a:t>‹N›</a:t>
            </a:fld>
            <a:endParaRPr lang="it-IT" sz="1200" noProof="0">
              <a:solidFill>
                <a:schemeClr val="bg1"/>
              </a:solidFill>
            </a:endParaRPr>
          </a:p>
        </p:txBody>
      </p:sp>
      <p:sp>
        <p:nvSpPr>
          <p:cNvPr id="9" name="Segnaposto testo 3">
            <a:extLst>
              <a:ext uri="{FF2B5EF4-FFF2-40B4-BE49-F238E27FC236}">
                <a16:creationId xmlns:a16="http://schemas.microsoft.com/office/drawing/2014/main" id="{9F5DF135-B773-4FF0-A198-687768159124}"/>
              </a:ext>
            </a:extLst>
          </p:cNvPr>
          <p:cNvSpPr>
            <a:spLocks noGrp="1"/>
          </p:cNvSpPr>
          <p:nvPr>
            <p:ph type="body" sz="half" idx="2" hasCustomPrompt="1"/>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it-IT" noProof="0"/>
              <a:t>Fare clic per modificare lo stile del titolo</a:t>
            </a:r>
          </a:p>
        </p:txBody>
      </p:sp>
      <p:sp>
        <p:nvSpPr>
          <p:cNvPr id="10" name="Segnaposto contenuto 2">
            <a:extLst>
              <a:ext uri="{FF2B5EF4-FFF2-40B4-BE49-F238E27FC236}">
                <a16:creationId xmlns:a16="http://schemas.microsoft.com/office/drawing/2014/main" id="{4D4BA48E-457A-42FA-BC00-3AE386B38A0C}"/>
              </a:ext>
            </a:extLst>
          </p:cNvPr>
          <p:cNvSpPr>
            <a:spLocks noGrp="1"/>
          </p:cNvSpPr>
          <p:nvPr>
            <p:ph idx="1"/>
          </p:nvPr>
        </p:nvSpPr>
        <p:spPr>
          <a:xfrm>
            <a:off x="5183188" y="987425"/>
            <a:ext cx="6265862"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it-IT" noProof="0"/>
              <a:t>Fare clic per modificare gli stili del testo dello schema</a:t>
            </a:r>
          </a:p>
          <a:p>
            <a:pPr lvl="1" rtl="0"/>
            <a:r>
              <a:rPr lang="it-IT" noProof="0"/>
              <a:t>Secondo livello</a:t>
            </a:r>
          </a:p>
          <a:p>
            <a:pPr lvl="2" rtl="0"/>
            <a:r>
              <a:rPr lang="it-IT" noProof="0"/>
              <a:t>Terzo livello</a:t>
            </a:r>
          </a:p>
          <a:p>
            <a:pPr lvl="3" rtl="0"/>
            <a:r>
              <a:rPr lang="it-IT" noProof="0"/>
              <a:t>Quarto livello</a:t>
            </a:r>
          </a:p>
          <a:p>
            <a:pPr lvl="4" rtl="0"/>
            <a:r>
              <a:rPr lang="it-IT" noProof="0"/>
              <a:t>Quinto livello</a:t>
            </a:r>
          </a:p>
        </p:txBody>
      </p:sp>
      <p:sp>
        <p:nvSpPr>
          <p:cNvPr id="11" name="Titolo 1">
            <a:extLst>
              <a:ext uri="{FF2B5EF4-FFF2-40B4-BE49-F238E27FC236}">
                <a16:creationId xmlns:a16="http://schemas.microsoft.com/office/drawing/2014/main" id="{43DF8AE6-3466-400C-B6F1-335DF4DED075}"/>
              </a:ext>
            </a:extLst>
          </p:cNvPr>
          <p:cNvSpPr>
            <a:spLocks noGrp="1"/>
          </p:cNvSpPr>
          <p:nvPr>
            <p:ph type="title"/>
          </p:nvPr>
        </p:nvSpPr>
        <p:spPr>
          <a:xfrm>
            <a:off x="839788" y="457200"/>
            <a:ext cx="3932237" cy="1600200"/>
          </a:xfrm>
        </p:spPr>
        <p:txBody>
          <a:bodyPr rtlCol="0" anchor="b"/>
          <a:lstStyle>
            <a:lvl1pPr>
              <a:defRPr sz="3200"/>
            </a:lvl1pPr>
          </a:lstStyle>
          <a:p>
            <a:pPr rtl="0"/>
            <a:r>
              <a:rPr lang="it-IT" noProof="0"/>
              <a:t>Fare clic per modificare lo stile del titolo dello schema</a:t>
            </a:r>
          </a:p>
        </p:txBody>
      </p:sp>
    </p:spTree>
    <p:extLst>
      <p:ext uri="{BB962C8B-B14F-4D97-AF65-F5344CB8AC3E}">
        <p14:creationId xmlns:p14="http://schemas.microsoft.com/office/powerpoint/2010/main" val="39769864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olo_02">
    <p:spTree>
      <p:nvGrpSpPr>
        <p:cNvPr id="1" name=""/>
        <p:cNvGrpSpPr/>
        <p:nvPr/>
      </p:nvGrpSpPr>
      <p:grpSpPr>
        <a:xfrm>
          <a:off x="0" y="0"/>
          <a:ext cx="0" cy="0"/>
          <a:chOff x="0" y="0"/>
          <a:chExt cx="0" cy="0"/>
        </a:xfrm>
      </p:grpSpPr>
      <p:sp>
        <p:nvSpPr>
          <p:cNvPr id="10" name="Figura a mano libera: Forma 9">
            <a:extLst>
              <a:ext uri="{FF2B5EF4-FFF2-40B4-BE49-F238E27FC236}">
                <a16:creationId xmlns:a16="http://schemas.microsoft.com/office/drawing/2014/main" id="{B305EBB3-0F16-4B63-82ED-191AB224B8E2}"/>
              </a:ext>
            </a:extLst>
          </p:cNvPr>
          <p:cNvSpPr/>
          <p:nvPr userDrawn="1"/>
        </p:nvSpPr>
        <p:spPr>
          <a:xfrm>
            <a:off x="5512953" y="0"/>
            <a:ext cx="3522381" cy="6858000"/>
          </a:xfrm>
          <a:custGeom>
            <a:avLst/>
            <a:gdLst>
              <a:gd name="connsiteX0" fmla="*/ 0 w 3522381"/>
              <a:gd name="connsiteY0" fmla="*/ 0 h 6858000"/>
              <a:gd name="connsiteX1" fmla="*/ 3522381 w 3522381"/>
              <a:gd name="connsiteY1" fmla="*/ 0 h 6858000"/>
              <a:gd name="connsiteX2" fmla="*/ 51547 w 3522381"/>
              <a:gd name="connsiteY2" fmla="*/ 6858000 h 6858000"/>
              <a:gd name="connsiteX3" fmla="*/ 0 w 35223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22381" h="6858000">
                <a:moveTo>
                  <a:pt x="0" y="0"/>
                </a:moveTo>
                <a:lnTo>
                  <a:pt x="3522381" y="0"/>
                </a:lnTo>
                <a:lnTo>
                  <a:pt x="51547" y="6858000"/>
                </a:lnTo>
                <a:lnTo>
                  <a:pt x="0" y="6858000"/>
                </a:lnTo>
                <a:close/>
              </a:path>
            </a:pathLst>
          </a:custGeom>
          <a:solidFill>
            <a:schemeClr val="bg1">
              <a:lumMod val="95000"/>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noProof="0"/>
          </a:p>
        </p:txBody>
      </p:sp>
      <p:sp>
        <p:nvSpPr>
          <p:cNvPr id="12" name="Segnaposto immagine 11">
            <a:extLst>
              <a:ext uri="{FF2B5EF4-FFF2-40B4-BE49-F238E27FC236}">
                <a16:creationId xmlns:a16="http://schemas.microsoft.com/office/drawing/2014/main" id="{1A440F4A-C2AF-406D-B420-CCF52F447AC1}"/>
              </a:ext>
            </a:extLst>
          </p:cNvPr>
          <p:cNvSpPr>
            <a:spLocks noGrp="1"/>
          </p:cNvSpPr>
          <p:nvPr>
            <p:ph type="pic" sz="quarter" idx="10" hasCustomPrompt="1"/>
          </p:nvPr>
        </p:nvSpPr>
        <p:spPr>
          <a:xfrm>
            <a:off x="-1" y="0"/>
            <a:ext cx="5504688" cy="6858000"/>
          </a:xfrm>
        </p:spPr>
        <p:txBody>
          <a:bodyPr rtlCol="0" anchor="ctr" anchorCtr="1">
            <a:normAutofit/>
          </a:bodyPr>
          <a:lstStyle>
            <a:lvl1pPr marL="0" indent="0">
              <a:buNone/>
              <a:defRPr sz="2400">
                <a:solidFill>
                  <a:schemeClr val="bg1"/>
                </a:solidFill>
              </a:defRPr>
            </a:lvl1pPr>
          </a:lstStyle>
          <a:p>
            <a:pPr rtl="0"/>
            <a:r>
              <a:rPr lang="it-IT" noProof="0"/>
              <a:t>Inserisci immagine</a:t>
            </a:r>
          </a:p>
        </p:txBody>
      </p:sp>
      <p:sp>
        <p:nvSpPr>
          <p:cNvPr id="2" name="Titolo 1">
            <a:extLst>
              <a:ext uri="{FF2B5EF4-FFF2-40B4-BE49-F238E27FC236}">
                <a16:creationId xmlns:a16="http://schemas.microsoft.com/office/drawing/2014/main" id="{C1744DE2-A455-46F2-BE15-959050C87CE4}"/>
              </a:ext>
            </a:extLst>
          </p:cNvPr>
          <p:cNvSpPr>
            <a:spLocks noGrp="1"/>
          </p:cNvSpPr>
          <p:nvPr>
            <p:ph type="ctrTitle" hasCustomPrompt="1"/>
          </p:nvPr>
        </p:nvSpPr>
        <p:spPr>
          <a:xfrm>
            <a:off x="7274144" y="1291772"/>
            <a:ext cx="4379976" cy="3611880"/>
          </a:xfrm>
        </p:spPr>
        <p:txBody>
          <a:bodyPr vert="horz" lIns="91440" tIns="45720" rIns="91440" bIns="45720" rtlCol="0" anchor="b" anchorCtr="1">
            <a:noAutofit/>
          </a:bodyPr>
          <a:lstStyle>
            <a:lvl1pPr>
              <a:defRPr lang="en-GB" dirty="0"/>
            </a:lvl1pPr>
          </a:lstStyle>
          <a:p>
            <a:pPr marL="0" lvl="0" algn="ctr" rtl="0"/>
            <a:r>
              <a:rPr lang="it-IT" noProof="0"/>
              <a:t>TITOLO</a:t>
            </a:r>
          </a:p>
        </p:txBody>
      </p:sp>
      <p:sp>
        <p:nvSpPr>
          <p:cNvPr id="3" name="Sottotitolo 2">
            <a:extLst>
              <a:ext uri="{FF2B5EF4-FFF2-40B4-BE49-F238E27FC236}">
                <a16:creationId xmlns:a16="http://schemas.microsoft.com/office/drawing/2014/main" id="{AC9DE4F3-CE8F-41A0-BFDE-76D0DF1DF432}"/>
              </a:ext>
            </a:extLst>
          </p:cNvPr>
          <p:cNvSpPr>
            <a:spLocks noGrp="1"/>
          </p:cNvSpPr>
          <p:nvPr>
            <p:ph type="subTitle" idx="1" hasCustomPrompt="1"/>
          </p:nvPr>
        </p:nvSpPr>
        <p:spPr>
          <a:xfrm>
            <a:off x="7389079" y="5392401"/>
            <a:ext cx="4178808" cy="521208"/>
          </a:xfrm>
        </p:spPr>
        <p:txBody>
          <a:bodyPr vert="horz" lIns="91440" tIns="45720" rIns="91440" bIns="45720" rtlCol="0" anchor="t">
            <a:noAutofit/>
          </a:bodyPr>
          <a:lstStyle>
            <a:lvl1pPr marL="0" indent="0" algn="ctr">
              <a:buNone/>
              <a:defRPr lang="en-US" sz="1800" dirty="0">
                <a:solidFill>
                  <a:srgbClr val="B2606E"/>
                </a:solidFill>
              </a:defRPr>
            </a:lvl1pPr>
          </a:lstStyle>
          <a:p>
            <a:pPr lvl="0" rtl="0"/>
            <a:r>
              <a:rPr lang="it-IT" noProof="0" dirty="0"/>
              <a:t>Sottotitolo</a:t>
            </a:r>
          </a:p>
        </p:txBody>
      </p:sp>
      <p:pic>
        <p:nvPicPr>
          <p:cNvPr id="5" name="Immagine 4" descr="Immagine che contiene cavallo, Carattere, testo, logo&#10;&#10;Descrizione generata automaticamente">
            <a:extLst>
              <a:ext uri="{FF2B5EF4-FFF2-40B4-BE49-F238E27FC236}">
                <a16:creationId xmlns:a16="http://schemas.microsoft.com/office/drawing/2014/main" id="{CD764CB5-B424-5BE2-B449-B745107E9F59}"/>
              </a:ext>
            </a:extLst>
          </p:cNvPr>
          <p:cNvPicPr>
            <a:picLocks noChangeAspect="1"/>
          </p:cNvPicPr>
          <p:nvPr userDrawn="1"/>
        </p:nvPicPr>
        <p:blipFill>
          <a:blip r:embed="rId2"/>
          <a:stretch>
            <a:fillRect/>
          </a:stretch>
        </p:blipFill>
        <p:spPr>
          <a:xfrm>
            <a:off x="10777016" y="5732132"/>
            <a:ext cx="1352311" cy="1059488"/>
          </a:xfrm>
          <a:prstGeom prst="rect">
            <a:avLst/>
          </a:prstGeom>
        </p:spPr>
      </p:pic>
    </p:spTree>
    <p:extLst>
      <p:ext uri="{BB962C8B-B14F-4D97-AF65-F5344CB8AC3E}">
        <p14:creationId xmlns:p14="http://schemas.microsoft.com/office/powerpoint/2010/main" val="12708547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magine con didascalia">
    <p:spTree>
      <p:nvGrpSpPr>
        <p:cNvPr id="1" name=""/>
        <p:cNvGrpSpPr/>
        <p:nvPr/>
      </p:nvGrpSpPr>
      <p:grpSpPr>
        <a:xfrm>
          <a:off x="0" y="0"/>
          <a:ext cx="0" cy="0"/>
          <a:chOff x="0" y="0"/>
          <a:chExt cx="0" cy="0"/>
        </a:xfrm>
      </p:grpSpPr>
      <p:grpSp>
        <p:nvGrpSpPr>
          <p:cNvPr id="4" name="Gruppo 3">
            <a:extLst>
              <a:ext uri="{FF2B5EF4-FFF2-40B4-BE49-F238E27FC236}">
                <a16:creationId xmlns:a16="http://schemas.microsoft.com/office/drawing/2014/main" id="{859AE304-DA92-45D8-B258-61BEA6C99C0E}"/>
              </a:ext>
            </a:extLst>
          </p:cNvPr>
          <p:cNvGrpSpPr/>
          <p:nvPr userDrawn="1"/>
        </p:nvGrpSpPr>
        <p:grpSpPr>
          <a:xfrm>
            <a:off x="0" y="6086479"/>
            <a:ext cx="12192000" cy="600974"/>
            <a:chOff x="0" y="6086479"/>
            <a:chExt cx="12192000" cy="600974"/>
          </a:xfrm>
        </p:grpSpPr>
        <p:sp>
          <p:nvSpPr>
            <p:cNvPr id="5" name="Rettangolo 4">
              <a:extLst>
                <a:ext uri="{FF2B5EF4-FFF2-40B4-BE49-F238E27FC236}">
                  <a16:creationId xmlns:a16="http://schemas.microsoft.com/office/drawing/2014/main" id="{6BF91D02-B4A9-4013-94B6-079A8D06DE1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7" name="Ovale 6">
              <a:extLst>
                <a:ext uri="{FF2B5EF4-FFF2-40B4-BE49-F238E27FC236}">
                  <a16:creationId xmlns:a16="http://schemas.microsoft.com/office/drawing/2014/main" id="{74DAC864-782A-48D4-8E15-9B35C60421BB}"/>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
        <p:nvSpPr>
          <p:cNvPr id="8" name="Segnaposto numero diapositiva 5">
            <a:extLst>
              <a:ext uri="{FF2B5EF4-FFF2-40B4-BE49-F238E27FC236}">
                <a16:creationId xmlns:a16="http://schemas.microsoft.com/office/drawing/2014/main" id="{73B7B0E2-E4FA-4B45-89A6-98E4C4DC1D24}"/>
              </a:ext>
            </a:extLst>
          </p:cNvPr>
          <p:cNvSpPr txBox="1">
            <a:spLocks/>
          </p:cNvSpPr>
          <p:nvPr userDrawn="1"/>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noProof="0" smtClean="0">
                <a:solidFill>
                  <a:schemeClr val="bg1"/>
                </a:solidFill>
              </a:rPr>
              <a:pPr algn="ctr"/>
              <a:t>‹N›</a:t>
            </a:fld>
            <a:endParaRPr lang="it-IT" sz="1200" noProof="0">
              <a:solidFill>
                <a:schemeClr val="bg1"/>
              </a:solidFill>
            </a:endParaRPr>
          </a:p>
        </p:txBody>
      </p:sp>
      <p:sp>
        <p:nvSpPr>
          <p:cNvPr id="9" name="Titolo 1">
            <a:extLst>
              <a:ext uri="{FF2B5EF4-FFF2-40B4-BE49-F238E27FC236}">
                <a16:creationId xmlns:a16="http://schemas.microsoft.com/office/drawing/2014/main" id="{A3EA16B2-FFAE-4A6E-977D-191BC1DB5B28}"/>
              </a:ext>
            </a:extLst>
          </p:cNvPr>
          <p:cNvSpPr>
            <a:spLocks noGrp="1"/>
          </p:cNvSpPr>
          <p:nvPr>
            <p:ph type="title"/>
          </p:nvPr>
        </p:nvSpPr>
        <p:spPr>
          <a:xfrm>
            <a:off x="839788" y="457200"/>
            <a:ext cx="3932237" cy="1600200"/>
          </a:xfrm>
        </p:spPr>
        <p:txBody>
          <a:bodyPr rtlCol="0" anchor="b"/>
          <a:lstStyle>
            <a:lvl1pPr>
              <a:defRPr sz="3200"/>
            </a:lvl1pPr>
          </a:lstStyle>
          <a:p>
            <a:pPr rtl="0"/>
            <a:r>
              <a:rPr lang="it-IT" noProof="0"/>
              <a:t>Fare clic per modificare lo stile del titolo dello schema</a:t>
            </a:r>
          </a:p>
        </p:txBody>
      </p:sp>
      <p:sp>
        <p:nvSpPr>
          <p:cNvPr id="10" name="Segnaposto testo 3">
            <a:extLst>
              <a:ext uri="{FF2B5EF4-FFF2-40B4-BE49-F238E27FC236}">
                <a16:creationId xmlns:a16="http://schemas.microsoft.com/office/drawing/2014/main" id="{436B2E80-B2B9-4309-8C9B-11D0B83C4337}"/>
              </a:ext>
            </a:extLst>
          </p:cNvPr>
          <p:cNvSpPr>
            <a:spLocks noGrp="1"/>
          </p:cNvSpPr>
          <p:nvPr>
            <p:ph type="body" sz="half" idx="2" hasCustomPrompt="1"/>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it-IT" noProof="0"/>
              <a:t>Fare clic per modificare lo stile del titolo</a:t>
            </a:r>
          </a:p>
        </p:txBody>
      </p:sp>
      <p:sp>
        <p:nvSpPr>
          <p:cNvPr id="11" name="Segnaposto immagine 2">
            <a:extLst>
              <a:ext uri="{FF2B5EF4-FFF2-40B4-BE49-F238E27FC236}">
                <a16:creationId xmlns:a16="http://schemas.microsoft.com/office/drawing/2014/main" id="{03DB89DF-F372-4E54-9DFD-D53E42A2B8E8}"/>
              </a:ext>
            </a:extLst>
          </p:cNvPr>
          <p:cNvSpPr>
            <a:spLocks noGrp="1"/>
          </p:cNvSpPr>
          <p:nvPr>
            <p:ph type="pic" idx="1"/>
          </p:nvPr>
        </p:nvSpPr>
        <p:spPr>
          <a:xfrm>
            <a:off x="5183188" y="457201"/>
            <a:ext cx="6172200" cy="5403850"/>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r>
              <a:rPr lang="it-IT" noProof="0"/>
              <a:t>Fare clic sull'icona per inserire un'immagine</a:t>
            </a:r>
          </a:p>
        </p:txBody>
      </p:sp>
    </p:spTree>
    <p:extLst>
      <p:ext uri="{BB962C8B-B14F-4D97-AF65-F5344CB8AC3E}">
        <p14:creationId xmlns:p14="http://schemas.microsoft.com/office/powerpoint/2010/main" val="42943465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otto">
    <p:spTree>
      <p:nvGrpSpPr>
        <p:cNvPr id="1" name=""/>
        <p:cNvGrpSpPr/>
        <p:nvPr/>
      </p:nvGrpSpPr>
      <p:grpSpPr>
        <a:xfrm>
          <a:off x="0" y="0"/>
          <a:ext cx="0" cy="0"/>
          <a:chOff x="0" y="0"/>
          <a:chExt cx="0" cy="0"/>
        </a:xfrm>
      </p:grpSpPr>
      <p:sp>
        <p:nvSpPr>
          <p:cNvPr id="43" name="Segnaposto immagine 34">
            <a:extLst>
              <a:ext uri="{FF2B5EF4-FFF2-40B4-BE49-F238E27FC236}">
                <a16:creationId xmlns:a16="http://schemas.microsoft.com/office/drawing/2014/main" id="{2D1EF856-2381-405C-A913-80809E59AAB1}"/>
              </a:ext>
            </a:extLst>
          </p:cNvPr>
          <p:cNvSpPr>
            <a:spLocks noGrp="1"/>
          </p:cNvSpPr>
          <p:nvPr>
            <p:ph type="pic" sz="quarter" idx="11" hasCustomPrompt="1"/>
          </p:nvPr>
        </p:nvSpPr>
        <p:spPr>
          <a:xfrm>
            <a:off x="8655566" y="2453724"/>
            <a:ext cx="887413" cy="889000"/>
          </a:xfrm>
        </p:spPr>
        <p:txBody>
          <a:bodyPr rtlCol="0">
            <a:normAutofit/>
          </a:bodyPr>
          <a:lstStyle>
            <a:lvl1pPr marL="0" indent="0">
              <a:buNone/>
              <a:defRPr sz="1000"/>
            </a:lvl1pPr>
          </a:lstStyle>
          <a:p>
            <a:pPr rtl="0"/>
            <a:r>
              <a:rPr lang="it-IT" noProof="0"/>
              <a:t>ICONA</a:t>
            </a:r>
          </a:p>
        </p:txBody>
      </p:sp>
      <p:sp>
        <p:nvSpPr>
          <p:cNvPr id="44" name="Segnaposto testo 39">
            <a:extLst>
              <a:ext uri="{FF2B5EF4-FFF2-40B4-BE49-F238E27FC236}">
                <a16:creationId xmlns:a16="http://schemas.microsoft.com/office/drawing/2014/main" id="{34FBB9E9-CEBE-45B8-BF68-9E764AEF4CBC}"/>
              </a:ext>
            </a:extLst>
          </p:cNvPr>
          <p:cNvSpPr>
            <a:spLocks noGrp="1"/>
          </p:cNvSpPr>
          <p:nvPr>
            <p:ph type="body" sz="quarter" idx="14" hasCustomPrompt="1"/>
          </p:nvPr>
        </p:nvSpPr>
        <p:spPr>
          <a:xfrm>
            <a:off x="9710761" y="4641488"/>
            <a:ext cx="2138339" cy="601662"/>
          </a:xfrm>
        </p:spPr>
        <p:txBody>
          <a:bodyPr rtlCol="0">
            <a:noAutofit/>
          </a:bodyPr>
          <a:lstStyle>
            <a:lvl1pPr marL="0" indent="0" algn="l">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rtl="0"/>
            <a:r>
              <a:rPr lang="it-IT" noProof="0"/>
              <a:t>Fare clic per modificare lo stile del titolo</a:t>
            </a:r>
          </a:p>
        </p:txBody>
      </p:sp>
      <p:sp>
        <p:nvSpPr>
          <p:cNvPr id="45" name="Segnaposto testo 46">
            <a:extLst>
              <a:ext uri="{FF2B5EF4-FFF2-40B4-BE49-F238E27FC236}">
                <a16:creationId xmlns:a16="http://schemas.microsoft.com/office/drawing/2014/main" id="{55B6C77E-DBDB-42A4-9B9B-3F2CF47584F0}"/>
              </a:ext>
            </a:extLst>
          </p:cNvPr>
          <p:cNvSpPr>
            <a:spLocks noGrp="1"/>
          </p:cNvSpPr>
          <p:nvPr>
            <p:ph type="body" sz="quarter" idx="18"/>
          </p:nvPr>
        </p:nvSpPr>
        <p:spPr>
          <a:xfrm>
            <a:off x="9710761" y="4240861"/>
            <a:ext cx="2138339" cy="299767"/>
          </a:xfrm>
        </p:spPr>
        <p:txBody>
          <a:bodyPr rtlCol="0">
            <a:noAutofit/>
          </a:bodyPr>
          <a:lstStyle>
            <a:lvl1pPr marL="0" indent="0" algn="l">
              <a:lnSpc>
                <a:spcPct val="100000"/>
              </a:lnSpc>
              <a:spcBef>
                <a:spcPts val="0"/>
              </a:spcBef>
              <a:buNone/>
              <a:defRPr sz="1800" b="1">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rtl="0"/>
            <a:r>
              <a:rPr lang="it-IT" noProof="0"/>
              <a:t>Fare clic per modificare gli stili del testo dello schema</a:t>
            </a:r>
          </a:p>
        </p:txBody>
      </p:sp>
      <p:sp>
        <p:nvSpPr>
          <p:cNvPr id="46" name="Segnaposto immagine 34">
            <a:extLst>
              <a:ext uri="{FF2B5EF4-FFF2-40B4-BE49-F238E27FC236}">
                <a16:creationId xmlns:a16="http://schemas.microsoft.com/office/drawing/2014/main" id="{55DF7ED3-48B8-48C6-A240-C3F0AF040540}"/>
              </a:ext>
            </a:extLst>
          </p:cNvPr>
          <p:cNvSpPr>
            <a:spLocks noGrp="1"/>
          </p:cNvSpPr>
          <p:nvPr>
            <p:ph type="pic" sz="quarter" idx="19" hasCustomPrompt="1"/>
          </p:nvPr>
        </p:nvSpPr>
        <p:spPr>
          <a:xfrm>
            <a:off x="5103465" y="2453724"/>
            <a:ext cx="887413" cy="889000"/>
          </a:xfrm>
        </p:spPr>
        <p:txBody>
          <a:bodyPr rtlCol="0">
            <a:normAutofit/>
          </a:bodyPr>
          <a:lstStyle>
            <a:lvl1pPr marL="0" indent="0">
              <a:buNone/>
              <a:defRPr sz="1000"/>
            </a:lvl1pPr>
          </a:lstStyle>
          <a:p>
            <a:pPr rtl="0"/>
            <a:r>
              <a:rPr lang="it-IT" noProof="0"/>
              <a:t>ICONA</a:t>
            </a:r>
          </a:p>
        </p:txBody>
      </p:sp>
      <p:sp>
        <p:nvSpPr>
          <p:cNvPr id="47" name="Segnaposto immagine 34">
            <a:extLst>
              <a:ext uri="{FF2B5EF4-FFF2-40B4-BE49-F238E27FC236}">
                <a16:creationId xmlns:a16="http://schemas.microsoft.com/office/drawing/2014/main" id="{C38ECA3B-7319-4FDB-BCA5-42DE903E763C}"/>
              </a:ext>
            </a:extLst>
          </p:cNvPr>
          <p:cNvSpPr>
            <a:spLocks noGrp="1"/>
          </p:cNvSpPr>
          <p:nvPr>
            <p:ph type="pic" sz="quarter" idx="20" hasCustomPrompt="1"/>
          </p:nvPr>
        </p:nvSpPr>
        <p:spPr>
          <a:xfrm>
            <a:off x="1551364" y="2453724"/>
            <a:ext cx="887413" cy="889000"/>
          </a:xfrm>
        </p:spPr>
        <p:txBody>
          <a:bodyPr rtlCol="0">
            <a:normAutofit/>
          </a:bodyPr>
          <a:lstStyle>
            <a:lvl1pPr marL="0" indent="0">
              <a:buNone/>
              <a:defRPr sz="1000"/>
            </a:lvl1pPr>
          </a:lstStyle>
          <a:p>
            <a:pPr rtl="0"/>
            <a:r>
              <a:rPr lang="it-IT" noProof="0"/>
              <a:t>ICONA</a:t>
            </a:r>
          </a:p>
        </p:txBody>
      </p:sp>
      <p:sp>
        <p:nvSpPr>
          <p:cNvPr id="52" name="Segnaposto immagine 34">
            <a:extLst>
              <a:ext uri="{FF2B5EF4-FFF2-40B4-BE49-F238E27FC236}">
                <a16:creationId xmlns:a16="http://schemas.microsoft.com/office/drawing/2014/main" id="{90EC8BEC-DD26-4CF5-9BA3-62FB1DE4E8F3}"/>
              </a:ext>
            </a:extLst>
          </p:cNvPr>
          <p:cNvSpPr>
            <a:spLocks noGrp="1"/>
          </p:cNvSpPr>
          <p:nvPr>
            <p:ph type="pic" sz="quarter" idx="21" hasCustomPrompt="1"/>
          </p:nvPr>
        </p:nvSpPr>
        <p:spPr>
          <a:xfrm>
            <a:off x="8655566" y="4186831"/>
            <a:ext cx="887413" cy="889000"/>
          </a:xfrm>
        </p:spPr>
        <p:txBody>
          <a:bodyPr rtlCol="0">
            <a:normAutofit/>
          </a:bodyPr>
          <a:lstStyle>
            <a:lvl1pPr marL="0" indent="0">
              <a:buNone/>
              <a:defRPr sz="1000"/>
            </a:lvl1pPr>
          </a:lstStyle>
          <a:p>
            <a:pPr rtl="0"/>
            <a:r>
              <a:rPr lang="it-IT" noProof="0"/>
              <a:t>ICONA</a:t>
            </a:r>
          </a:p>
        </p:txBody>
      </p:sp>
      <p:sp>
        <p:nvSpPr>
          <p:cNvPr id="53" name="Segnaposto immagine 34">
            <a:extLst>
              <a:ext uri="{FF2B5EF4-FFF2-40B4-BE49-F238E27FC236}">
                <a16:creationId xmlns:a16="http://schemas.microsoft.com/office/drawing/2014/main" id="{65A0AFA3-6580-43C1-B098-2C7BCA9F6C75}"/>
              </a:ext>
            </a:extLst>
          </p:cNvPr>
          <p:cNvSpPr>
            <a:spLocks noGrp="1"/>
          </p:cNvSpPr>
          <p:nvPr>
            <p:ph type="pic" sz="quarter" idx="22" hasCustomPrompt="1"/>
          </p:nvPr>
        </p:nvSpPr>
        <p:spPr>
          <a:xfrm>
            <a:off x="5103465" y="4186831"/>
            <a:ext cx="887413" cy="889000"/>
          </a:xfrm>
        </p:spPr>
        <p:txBody>
          <a:bodyPr rtlCol="0">
            <a:normAutofit/>
          </a:bodyPr>
          <a:lstStyle>
            <a:lvl1pPr marL="0" indent="0">
              <a:buNone/>
              <a:defRPr sz="1000"/>
            </a:lvl1pPr>
          </a:lstStyle>
          <a:p>
            <a:pPr rtl="0"/>
            <a:r>
              <a:rPr lang="it-IT" noProof="0"/>
              <a:t>ICONA</a:t>
            </a:r>
          </a:p>
        </p:txBody>
      </p:sp>
      <p:sp>
        <p:nvSpPr>
          <p:cNvPr id="54" name="Segnaposto immagine 34">
            <a:extLst>
              <a:ext uri="{FF2B5EF4-FFF2-40B4-BE49-F238E27FC236}">
                <a16:creationId xmlns:a16="http://schemas.microsoft.com/office/drawing/2014/main" id="{633BE360-454A-4A5C-9104-60910DAB61B5}"/>
              </a:ext>
            </a:extLst>
          </p:cNvPr>
          <p:cNvSpPr>
            <a:spLocks noGrp="1"/>
          </p:cNvSpPr>
          <p:nvPr>
            <p:ph type="pic" sz="quarter" idx="23" hasCustomPrompt="1"/>
          </p:nvPr>
        </p:nvSpPr>
        <p:spPr>
          <a:xfrm>
            <a:off x="1551364" y="4186831"/>
            <a:ext cx="887413" cy="889000"/>
          </a:xfrm>
        </p:spPr>
        <p:txBody>
          <a:bodyPr rtlCol="0">
            <a:normAutofit/>
          </a:bodyPr>
          <a:lstStyle>
            <a:lvl1pPr marL="0" indent="0">
              <a:buNone/>
              <a:defRPr sz="1000"/>
            </a:lvl1pPr>
          </a:lstStyle>
          <a:p>
            <a:pPr rtl="0"/>
            <a:r>
              <a:rPr lang="it-IT" noProof="0"/>
              <a:t>ICONA</a:t>
            </a:r>
          </a:p>
        </p:txBody>
      </p:sp>
      <p:sp>
        <p:nvSpPr>
          <p:cNvPr id="59" name="Segnaposto immagine 34">
            <a:extLst>
              <a:ext uri="{FF2B5EF4-FFF2-40B4-BE49-F238E27FC236}">
                <a16:creationId xmlns:a16="http://schemas.microsoft.com/office/drawing/2014/main" id="{E846108A-BBFA-4FDA-9BAA-78AA09FEF2B1}"/>
              </a:ext>
            </a:extLst>
          </p:cNvPr>
          <p:cNvSpPr>
            <a:spLocks noGrp="1"/>
          </p:cNvSpPr>
          <p:nvPr>
            <p:ph type="pic" sz="quarter" idx="24" hasCustomPrompt="1"/>
          </p:nvPr>
        </p:nvSpPr>
        <p:spPr>
          <a:xfrm>
            <a:off x="762501" y="306053"/>
            <a:ext cx="887413" cy="889000"/>
          </a:xfrm>
        </p:spPr>
        <p:txBody>
          <a:bodyPr rtlCol="0">
            <a:normAutofit/>
          </a:bodyPr>
          <a:lstStyle>
            <a:lvl1pPr marL="0" indent="0">
              <a:buNone/>
              <a:defRPr sz="1000"/>
            </a:lvl1pPr>
          </a:lstStyle>
          <a:p>
            <a:pPr rtl="0"/>
            <a:r>
              <a:rPr lang="it-IT" noProof="0"/>
              <a:t>ICONA</a:t>
            </a:r>
          </a:p>
        </p:txBody>
      </p:sp>
      <p:sp>
        <p:nvSpPr>
          <p:cNvPr id="60" name="Segnaposto immagine 34">
            <a:extLst>
              <a:ext uri="{FF2B5EF4-FFF2-40B4-BE49-F238E27FC236}">
                <a16:creationId xmlns:a16="http://schemas.microsoft.com/office/drawing/2014/main" id="{06FACEF4-EC76-40B1-ABAB-DFB9AB1C6F8C}"/>
              </a:ext>
            </a:extLst>
          </p:cNvPr>
          <p:cNvSpPr>
            <a:spLocks noGrp="1"/>
          </p:cNvSpPr>
          <p:nvPr>
            <p:ph type="pic" sz="quarter" idx="25" hasCustomPrompt="1"/>
          </p:nvPr>
        </p:nvSpPr>
        <p:spPr>
          <a:xfrm>
            <a:off x="5103465" y="5749817"/>
            <a:ext cx="887413" cy="889000"/>
          </a:xfrm>
        </p:spPr>
        <p:txBody>
          <a:bodyPr rtlCol="0">
            <a:normAutofit/>
          </a:bodyPr>
          <a:lstStyle>
            <a:lvl1pPr marL="0" indent="0">
              <a:buNone/>
              <a:defRPr sz="1000"/>
            </a:lvl1pPr>
          </a:lstStyle>
          <a:p>
            <a:pPr rtl="0"/>
            <a:r>
              <a:rPr lang="it-IT" noProof="0"/>
              <a:t>ICONA</a:t>
            </a:r>
          </a:p>
        </p:txBody>
      </p:sp>
      <p:sp>
        <p:nvSpPr>
          <p:cNvPr id="77" name="Segnaposto testo 39">
            <a:extLst>
              <a:ext uri="{FF2B5EF4-FFF2-40B4-BE49-F238E27FC236}">
                <a16:creationId xmlns:a16="http://schemas.microsoft.com/office/drawing/2014/main" id="{F9B127AA-A9E2-41AB-8FAE-D787CE0242BD}"/>
              </a:ext>
            </a:extLst>
          </p:cNvPr>
          <p:cNvSpPr>
            <a:spLocks noGrp="1"/>
          </p:cNvSpPr>
          <p:nvPr>
            <p:ph type="body" sz="quarter" idx="26" hasCustomPrompt="1"/>
          </p:nvPr>
        </p:nvSpPr>
        <p:spPr>
          <a:xfrm>
            <a:off x="9710761" y="2877635"/>
            <a:ext cx="2138339" cy="601662"/>
          </a:xfrm>
        </p:spPr>
        <p:txBody>
          <a:bodyPr rtlCol="0">
            <a:noAutofit/>
          </a:bodyPr>
          <a:lstStyle>
            <a:lvl1pPr marL="0" indent="0" algn="l">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rtl="0"/>
            <a:r>
              <a:rPr lang="it-IT" noProof="0"/>
              <a:t>Fare clic per modificare lo stile del titolo</a:t>
            </a:r>
          </a:p>
        </p:txBody>
      </p:sp>
      <p:sp>
        <p:nvSpPr>
          <p:cNvPr id="78" name="Segnaposto testo 46">
            <a:extLst>
              <a:ext uri="{FF2B5EF4-FFF2-40B4-BE49-F238E27FC236}">
                <a16:creationId xmlns:a16="http://schemas.microsoft.com/office/drawing/2014/main" id="{716BD719-7234-4908-ABBF-43004C9CA957}"/>
              </a:ext>
            </a:extLst>
          </p:cNvPr>
          <p:cNvSpPr>
            <a:spLocks noGrp="1"/>
          </p:cNvSpPr>
          <p:nvPr>
            <p:ph type="body" sz="quarter" idx="27"/>
          </p:nvPr>
        </p:nvSpPr>
        <p:spPr>
          <a:xfrm>
            <a:off x="9710761" y="2477008"/>
            <a:ext cx="2138339" cy="299767"/>
          </a:xfrm>
        </p:spPr>
        <p:txBody>
          <a:bodyPr rtlCol="0">
            <a:noAutofit/>
          </a:bodyPr>
          <a:lstStyle>
            <a:lvl1pPr marL="0" indent="0" algn="l">
              <a:lnSpc>
                <a:spcPct val="100000"/>
              </a:lnSpc>
              <a:spcBef>
                <a:spcPts val="0"/>
              </a:spcBef>
              <a:buNone/>
              <a:defRPr sz="1800" b="1">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rtl="0"/>
            <a:r>
              <a:rPr lang="it-IT" noProof="0"/>
              <a:t>Fare clic per modificare gli stili del testo dello schema</a:t>
            </a:r>
          </a:p>
        </p:txBody>
      </p:sp>
      <p:sp>
        <p:nvSpPr>
          <p:cNvPr id="79" name="Segnaposto testo 39">
            <a:extLst>
              <a:ext uri="{FF2B5EF4-FFF2-40B4-BE49-F238E27FC236}">
                <a16:creationId xmlns:a16="http://schemas.microsoft.com/office/drawing/2014/main" id="{626608D9-0200-4530-A392-8778E0D04406}"/>
              </a:ext>
            </a:extLst>
          </p:cNvPr>
          <p:cNvSpPr>
            <a:spLocks noGrp="1"/>
          </p:cNvSpPr>
          <p:nvPr>
            <p:ph type="body" sz="quarter" idx="28" hasCustomPrompt="1"/>
          </p:nvPr>
        </p:nvSpPr>
        <p:spPr>
          <a:xfrm>
            <a:off x="6116956" y="4641488"/>
            <a:ext cx="2138339" cy="601662"/>
          </a:xfrm>
        </p:spPr>
        <p:txBody>
          <a:bodyPr rtlCol="0">
            <a:noAutofit/>
          </a:bodyPr>
          <a:lstStyle>
            <a:lvl1pPr marL="0" indent="0" algn="l">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rtl="0"/>
            <a:r>
              <a:rPr lang="it-IT" noProof="0"/>
              <a:t>Fare clic per modificare lo stile del titolo</a:t>
            </a:r>
          </a:p>
        </p:txBody>
      </p:sp>
      <p:sp>
        <p:nvSpPr>
          <p:cNvPr id="80" name="Segnaposto testo 46">
            <a:extLst>
              <a:ext uri="{FF2B5EF4-FFF2-40B4-BE49-F238E27FC236}">
                <a16:creationId xmlns:a16="http://schemas.microsoft.com/office/drawing/2014/main" id="{752DFA8A-D6FA-4ECD-9E35-F71EA4E99C77}"/>
              </a:ext>
            </a:extLst>
          </p:cNvPr>
          <p:cNvSpPr>
            <a:spLocks noGrp="1"/>
          </p:cNvSpPr>
          <p:nvPr>
            <p:ph type="body" sz="quarter" idx="29"/>
          </p:nvPr>
        </p:nvSpPr>
        <p:spPr>
          <a:xfrm>
            <a:off x="6116956" y="4240861"/>
            <a:ext cx="2138339" cy="299767"/>
          </a:xfrm>
        </p:spPr>
        <p:txBody>
          <a:bodyPr rtlCol="0">
            <a:noAutofit/>
          </a:bodyPr>
          <a:lstStyle>
            <a:lvl1pPr marL="0" indent="0" algn="l">
              <a:lnSpc>
                <a:spcPct val="100000"/>
              </a:lnSpc>
              <a:spcBef>
                <a:spcPts val="0"/>
              </a:spcBef>
              <a:buNone/>
              <a:defRPr sz="1800" b="1">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rtl="0"/>
            <a:r>
              <a:rPr lang="it-IT" noProof="0"/>
              <a:t>Fare clic per modificare gli stili del testo dello schema</a:t>
            </a:r>
          </a:p>
        </p:txBody>
      </p:sp>
      <p:sp>
        <p:nvSpPr>
          <p:cNvPr id="81" name="Segnaposto testo 39">
            <a:extLst>
              <a:ext uri="{FF2B5EF4-FFF2-40B4-BE49-F238E27FC236}">
                <a16:creationId xmlns:a16="http://schemas.microsoft.com/office/drawing/2014/main" id="{CF686D19-A348-4080-A966-C34BC802E272}"/>
              </a:ext>
            </a:extLst>
          </p:cNvPr>
          <p:cNvSpPr>
            <a:spLocks noGrp="1"/>
          </p:cNvSpPr>
          <p:nvPr>
            <p:ph type="body" sz="quarter" idx="30" hasCustomPrompt="1"/>
          </p:nvPr>
        </p:nvSpPr>
        <p:spPr>
          <a:xfrm>
            <a:off x="6116956" y="2877635"/>
            <a:ext cx="2138339" cy="601662"/>
          </a:xfrm>
        </p:spPr>
        <p:txBody>
          <a:bodyPr rtlCol="0">
            <a:noAutofit/>
          </a:bodyPr>
          <a:lstStyle>
            <a:lvl1pPr marL="0" indent="0" algn="l">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rtl="0"/>
            <a:r>
              <a:rPr lang="it-IT" noProof="0"/>
              <a:t>Fare clic per modificare lo stile del titolo</a:t>
            </a:r>
          </a:p>
        </p:txBody>
      </p:sp>
      <p:sp>
        <p:nvSpPr>
          <p:cNvPr id="82" name="Segnaposto testo 46">
            <a:extLst>
              <a:ext uri="{FF2B5EF4-FFF2-40B4-BE49-F238E27FC236}">
                <a16:creationId xmlns:a16="http://schemas.microsoft.com/office/drawing/2014/main" id="{60735320-27D8-4F8E-A024-598776C9D1C3}"/>
              </a:ext>
            </a:extLst>
          </p:cNvPr>
          <p:cNvSpPr>
            <a:spLocks noGrp="1"/>
          </p:cNvSpPr>
          <p:nvPr>
            <p:ph type="body" sz="quarter" idx="31"/>
          </p:nvPr>
        </p:nvSpPr>
        <p:spPr>
          <a:xfrm>
            <a:off x="6116956" y="2477008"/>
            <a:ext cx="2138339" cy="299767"/>
          </a:xfrm>
        </p:spPr>
        <p:txBody>
          <a:bodyPr rtlCol="0">
            <a:noAutofit/>
          </a:bodyPr>
          <a:lstStyle>
            <a:lvl1pPr marL="0" indent="0" algn="l">
              <a:lnSpc>
                <a:spcPct val="100000"/>
              </a:lnSpc>
              <a:spcBef>
                <a:spcPts val="0"/>
              </a:spcBef>
              <a:buNone/>
              <a:defRPr sz="1800" b="1">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rtl="0"/>
            <a:r>
              <a:rPr lang="it-IT" noProof="0"/>
              <a:t>Fare clic per modificare gli stili del testo dello schema</a:t>
            </a:r>
          </a:p>
        </p:txBody>
      </p:sp>
      <p:sp>
        <p:nvSpPr>
          <p:cNvPr id="83" name="Segnaposto testo 39">
            <a:extLst>
              <a:ext uri="{FF2B5EF4-FFF2-40B4-BE49-F238E27FC236}">
                <a16:creationId xmlns:a16="http://schemas.microsoft.com/office/drawing/2014/main" id="{EAAFD4E3-0D64-4DC4-AC95-C45ABD2AE6F9}"/>
              </a:ext>
            </a:extLst>
          </p:cNvPr>
          <p:cNvSpPr>
            <a:spLocks noGrp="1"/>
          </p:cNvSpPr>
          <p:nvPr>
            <p:ph type="body" sz="quarter" idx="32" hasCustomPrompt="1"/>
          </p:nvPr>
        </p:nvSpPr>
        <p:spPr>
          <a:xfrm>
            <a:off x="6116956" y="6138282"/>
            <a:ext cx="2138339" cy="601662"/>
          </a:xfrm>
        </p:spPr>
        <p:txBody>
          <a:bodyPr rtlCol="0">
            <a:noAutofit/>
          </a:bodyPr>
          <a:lstStyle>
            <a:lvl1pPr marL="0" indent="0" algn="l">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rtl="0"/>
            <a:r>
              <a:rPr lang="it-IT" noProof="0"/>
              <a:t>Fare clic per modificare lo stile del titolo</a:t>
            </a:r>
          </a:p>
        </p:txBody>
      </p:sp>
      <p:sp>
        <p:nvSpPr>
          <p:cNvPr id="84" name="Segnaposto testo 46">
            <a:extLst>
              <a:ext uri="{FF2B5EF4-FFF2-40B4-BE49-F238E27FC236}">
                <a16:creationId xmlns:a16="http://schemas.microsoft.com/office/drawing/2014/main" id="{4E33188F-DB97-4480-8F80-07EABC10A011}"/>
              </a:ext>
            </a:extLst>
          </p:cNvPr>
          <p:cNvSpPr>
            <a:spLocks noGrp="1"/>
          </p:cNvSpPr>
          <p:nvPr>
            <p:ph type="body" sz="quarter" idx="33"/>
          </p:nvPr>
        </p:nvSpPr>
        <p:spPr>
          <a:xfrm>
            <a:off x="6116956" y="5750417"/>
            <a:ext cx="2138339" cy="299767"/>
          </a:xfrm>
        </p:spPr>
        <p:txBody>
          <a:bodyPr rtlCol="0">
            <a:noAutofit/>
          </a:bodyPr>
          <a:lstStyle>
            <a:lvl1pPr marL="0" indent="0" algn="l">
              <a:lnSpc>
                <a:spcPct val="100000"/>
              </a:lnSpc>
              <a:spcBef>
                <a:spcPts val="0"/>
              </a:spcBef>
              <a:buNone/>
              <a:defRPr sz="1800" b="1">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rtl="0"/>
            <a:r>
              <a:rPr lang="it-IT" noProof="0"/>
              <a:t>Fare clic per modificare gli stili del testo dello schema</a:t>
            </a:r>
          </a:p>
        </p:txBody>
      </p:sp>
      <p:sp>
        <p:nvSpPr>
          <p:cNvPr id="85" name="Segnaposto testo 39">
            <a:extLst>
              <a:ext uri="{FF2B5EF4-FFF2-40B4-BE49-F238E27FC236}">
                <a16:creationId xmlns:a16="http://schemas.microsoft.com/office/drawing/2014/main" id="{72308068-AAC7-4C44-AAF1-B2E1EC218C53}"/>
              </a:ext>
            </a:extLst>
          </p:cNvPr>
          <p:cNvSpPr>
            <a:spLocks noGrp="1"/>
          </p:cNvSpPr>
          <p:nvPr>
            <p:ph type="body" sz="quarter" idx="34" hasCustomPrompt="1"/>
          </p:nvPr>
        </p:nvSpPr>
        <p:spPr>
          <a:xfrm>
            <a:off x="2553374" y="2877635"/>
            <a:ext cx="2138339" cy="601662"/>
          </a:xfrm>
        </p:spPr>
        <p:txBody>
          <a:bodyPr rtlCol="0">
            <a:noAutofit/>
          </a:bodyPr>
          <a:lstStyle>
            <a:lvl1pPr marL="0" indent="0" algn="l">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rtl="0"/>
            <a:r>
              <a:rPr lang="it-IT" noProof="0"/>
              <a:t>Fare clic per modificare lo stile del titolo</a:t>
            </a:r>
          </a:p>
        </p:txBody>
      </p:sp>
      <p:sp>
        <p:nvSpPr>
          <p:cNvPr id="86" name="Segnaposto testo 46">
            <a:extLst>
              <a:ext uri="{FF2B5EF4-FFF2-40B4-BE49-F238E27FC236}">
                <a16:creationId xmlns:a16="http://schemas.microsoft.com/office/drawing/2014/main" id="{0601897E-1B17-49DA-9E03-BCE007BD9ACC}"/>
              </a:ext>
            </a:extLst>
          </p:cNvPr>
          <p:cNvSpPr>
            <a:spLocks noGrp="1"/>
          </p:cNvSpPr>
          <p:nvPr>
            <p:ph type="body" sz="quarter" idx="35"/>
          </p:nvPr>
        </p:nvSpPr>
        <p:spPr>
          <a:xfrm>
            <a:off x="2553374" y="2477008"/>
            <a:ext cx="2138339" cy="299767"/>
          </a:xfrm>
        </p:spPr>
        <p:txBody>
          <a:bodyPr rtlCol="0">
            <a:noAutofit/>
          </a:bodyPr>
          <a:lstStyle>
            <a:lvl1pPr marL="0" indent="0" algn="l">
              <a:lnSpc>
                <a:spcPct val="100000"/>
              </a:lnSpc>
              <a:spcBef>
                <a:spcPts val="0"/>
              </a:spcBef>
              <a:buNone/>
              <a:defRPr sz="1800" b="1">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rtl="0"/>
            <a:r>
              <a:rPr lang="it-IT" noProof="0"/>
              <a:t>Fare clic per modificare gli stili del testo dello schema</a:t>
            </a:r>
          </a:p>
        </p:txBody>
      </p:sp>
      <p:sp>
        <p:nvSpPr>
          <p:cNvPr id="87" name="Segnaposto testo 39">
            <a:extLst>
              <a:ext uri="{FF2B5EF4-FFF2-40B4-BE49-F238E27FC236}">
                <a16:creationId xmlns:a16="http://schemas.microsoft.com/office/drawing/2014/main" id="{19CE1DF1-96AA-415F-9715-D5354F419B53}"/>
              </a:ext>
            </a:extLst>
          </p:cNvPr>
          <p:cNvSpPr>
            <a:spLocks noGrp="1"/>
          </p:cNvSpPr>
          <p:nvPr>
            <p:ph type="body" sz="quarter" idx="36" hasCustomPrompt="1"/>
          </p:nvPr>
        </p:nvSpPr>
        <p:spPr>
          <a:xfrm>
            <a:off x="2553374" y="4641488"/>
            <a:ext cx="2138339" cy="601662"/>
          </a:xfrm>
        </p:spPr>
        <p:txBody>
          <a:bodyPr rtlCol="0">
            <a:noAutofit/>
          </a:bodyPr>
          <a:lstStyle>
            <a:lvl1pPr marL="0" indent="0" algn="l">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rtl="0"/>
            <a:r>
              <a:rPr lang="it-IT" noProof="0"/>
              <a:t>Fare clic per modificare lo stile del titolo</a:t>
            </a:r>
          </a:p>
        </p:txBody>
      </p:sp>
      <p:sp>
        <p:nvSpPr>
          <p:cNvPr id="88" name="Segnaposto testo 46">
            <a:extLst>
              <a:ext uri="{FF2B5EF4-FFF2-40B4-BE49-F238E27FC236}">
                <a16:creationId xmlns:a16="http://schemas.microsoft.com/office/drawing/2014/main" id="{9F9535F2-A766-44AF-9AD3-51BA2C6F2ED8}"/>
              </a:ext>
            </a:extLst>
          </p:cNvPr>
          <p:cNvSpPr>
            <a:spLocks noGrp="1"/>
          </p:cNvSpPr>
          <p:nvPr>
            <p:ph type="body" sz="quarter" idx="37"/>
          </p:nvPr>
        </p:nvSpPr>
        <p:spPr>
          <a:xfrm>
            <a:off x="2553374" y="4240861"/>
            <a:ext cx="2138339" cy="299767"/>
          </a:xfrm>
        </p:spPr>
        <p:txBody>
          <a:bodyPr rtlCol="0">
            <a:noAutofit/>
          </a:bodyPr>
          <a:lstStyle>
            <a:lvl1pPr marL="0" indent="0" algn="l">
              <a:lnSpc>
                <a:spcPct val="100000"/>
              </a:lnSpc>
              <a:spcBef>
                <a:spcPts val="0"/>
              </a:spcBef>
              <a:buNone/>
              <a:defRPr sz="1800" b="1">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rtl="0"/>
            <a:r>
              <a:rPr lang="it-IT" noProof="0"/>
              <a:t>Fare clic per modificare gli stili del testo dello schema</a:t>
            </a:r>
          </a:p>
        </p:txBody>
      </p:sp>
      <p:sp>
        <p:nvSpPr>
          <p:cNvPr id="89" name="Segnaposto testo 39">
            <a:extLst>
              <a:ext uri="{FF2B5EF4-FFF2-40B4-BE49-F238E27FC236}">
                <a16:creationId xmlns:a16="http://schemas.microsoft.com/office/drawing/2014/main" id="{15177575-6B71-4584-8E0B-D151D973200D}"/>
              </a:ext>
            </a:extLst>
          </p:cNvPr>
          <p:cNvSpPr>
            <a:spLocks noGrp="1"/>
          </p:cNvSpPr>
          <p:nvPr>
            <p:ph type="body" sz="quarter" idx="38" hasCustomPrompt="1"/>
          </p:nvPr>
        </p:nvSpPr>
        <p:spPr>
          <a:xfrm>
            <a:off x="1749692" y="814919"/>
            <a:ext cx="2138339" cy="601662"/>
          </a:xfrm>
        </p:spPr>
        <p:txBody>
          <a:bodyPr rtlCol="0">
            <a:noAutofit/>
          </a:bodyPr>
          <a:lstStyle>
            <a:lvl1pPr marL="0" indent="0" algn="l">
              <a:buNone/>
              <a:defRPr sz="1100">
                <a:solidFill>
                  <a:schemeClr val="tx1"/>
                </a:solidFill>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rtl="0"/>
            <a:r>
              <a:rPr lang="it-IT" noProof="0"/>
              <a:t>Fare clic per modificare lo stile del titolo</a:t>
            </a:r>
          </a:p>
        </p:txBody>
      </p:sp>
      <p:sp>
        <p:nvSpPr>
          <p:cNvPr id="90" name="Segnaposto testo 46">
            <a:extLst>
              <a:ext uri="{FF2B5EF4-FFF2-40B4-BE49-F238E27FC236}">
                <a16:creationId xmlns:a16="http://schemas.microsoft.com/office/drawing/2014/main" id="{FC7F0546-1415-48CA-8E73-91D3480ED57D}"/>
              </a:ext>
            </a:extLst>
          </p:cNvPr>
          <p:cNvSpPr>
            <a:spLocks noGrp="1"/>
          </p:cNvSpPr>
          <p:nvPr>
            <p:ph type="body" sz="quarter" idx="39"/>
          </p:nvPr>
        </p:nvSpPr>
        <p:spPr>
          <a:xfrm>
            <a:off x="1749692" y="411976"/>
            <a:ext cx="2138339" cy="299767"/>
          </a:xfrm>
        </p:spPr>
        <p:txBody>
          <a:bodyPr rtlCol="0">
            <a:noAutofit/>
          </a:bodyPr>
          <a:lstStyle>
            <a:lvl1pPr marL="0" indent="0" algn="l">
              <a:lnSpc>
                <a:spcPct val="100000"/>
              </a:lnSpc>
              <a:spcBef>
                <a:spcPts val="0"/>
              </a:spcBef>
              <a:buNone/>
              <a:defRPr sz="1800" b="1">
                <a:latin typeface="+mj-lt"/>
              </a:defRPr>
            </a:lvl1pPr>
            <a:lvl2pPr marL="457200" indent="0">
              <a:buNone/>
              <a:defRPr sz="1800"/>
            </a:lvl2pPr>
            <a:lvl3pPr marL="914400" indent="0">
              <a:buNone/>
              <a:defRPr sz="1800"/>
            </a:lvl3pPr>
            <a:lvl4pPr marL="1371600" indent="0">
              <a:buNone/>
              <a:defRPr sz="1800"/>
            </a:lvl4pPr>
            <a:lvl5pPr marL="1828800" indent="0">
              <a:buNone/>
              <a:defRPr sz="1800"/>
            </a:lvl5pPr>
          </a:lstStyle>
          <a:p>
            <a:pPr lvl="0" rtl="0"/>
            <a:r>
              <a:rPr lang="it-IT" noProof="0"/>
              <a:t>Fare clic per modificare gli stili del testo dello schema</a:t>
            </a:r>
          </a:p>
        </p:txBody>
      </p:sp>
      <p:sp>
        <p:nvSpPr>
          <p:cNvPr id="2" name="Titolo 1">
            <a:extLst>
              <a:ext uri="{FF2B5EF4-FFF2-40B4-BE49-F238E27FC236}">
                <a16:creationId xmlns:a16="http://schemas.microsoft.com/office/drawing/2014/main" id="{AA017577-965B-4F93-A2EE-44D638A8C60A}"/>
              </a:ext>
            </a:extLst>
          </p:cNvPr>
          <p:cNvSpPr>
            <a:spLocks noGrp="1"/>
          </p:cNvSpPr>
          <p:nvPr>
            <p:ph type="title"/>
          </p:nvPr>
        </p:nvSpPr>
        <p:spPr>
          <a:xfrm>
            <a:off x="5753098" y="457200"/>
            <a:ext cx="6096001" cy="601662"/>
          </a:xfrm>
        </p:spPr>
        <p:txBody>
          <a:bodyPr rtlCol="0"/>
          <a:lstStyle>
            <a:lvl1pPr algn="r">
              <a:defRPr/>
            </a:lvl1pPr>
          </a:lstStyle>
          <a:p>
            <a:pPr rtl="0"/>
            <a:r>
              <a:rPr lang="it-IT" noProof="0"/>
              <a:t>Fare clic per modificare lo stile del titolo dello schema</a:t>
            </a:r>
          </a:p>
        </p:txBody>
      </p:sp>
    </p:spTree>
    <p:extLst>
      <p:ext uri="{BB962C8B-B14F-4D97-AF65-F5344CB8AC3E}">
        <p14:creationId xmlns:p14="http://schemas.microsoft.com/office/powerpoint/2010/main" val="1923511376"/>
      </p:ext>
    </p:extLst>
  </p:cSld>
  <p:clrMapOvr>
    <a:masterClrMapping/>
  </p:clrMapOvr>
  <p:extLst>
    <p:ext uri="{DCECCB84-F9BA-43D5-87BE-67443E8EF086}">
      <p15:sldGuideLst xmlns:p15="http://schemas.microsoft.com/office/powerpoint/2012/main">
        <p15:guide id="1" pos="1920">
          <p15:clr>
            <a:srgbClr val="FBAE40"/>
          </p15:clr>
        </p15:guide>
        <p15:guide id="2" pos="3840">
          <p15:clr>
            <a:srgbClr val="FBAE40"/>
          </p15:clr>
        </p15:guide>
        <p15:guide id="3" pos="5760">
          <p15:clr>
            <a:srgbClr val="FBAE40"/>
          </p15:clr>
        </p15:guide>
        <p15:guide id="4" pos="3984">
          <p15:clr>
            <a:srgbClr val="5ACBF0"/>
          </p15:clr>
        </p15:guide>
        <p15:guide id="5" pos="3672">
          <p15:clr>
            <a:srgbClr val="5ACBF0"/>
          </p15:clr>
        </p15:guide>
        <p15:guide id="6" pos="2064">
          <p15:clr>
            <a:srgbClr val="5ACBF0"/>
          </p15:clr>
        </p15:guide>
        <p15:guide id="7" pos="1776">
          <p15:clr>
            <a:srgbClr val="5ACBF0"/>
          </p15:clr>
        </p15:guide>
        <p15:guide id="8" pos="5616">
          <p15:clr>
            <a:srgbClr val="5ACBF0"/>
          </p15:clr>
        </p15:guide>
        <p15:guide id="9" pos="5928">
          <p15:clr>
            <a:srgbClr val="5ACBF0"/>
          </p15:clr>
        </p15:guide>
        <p15:guide id="10" pos="144">
          <p15:clr>
            <a:srgbClr val="5ACBF0"/>
          </p15:clr>
        </p15:guide>
        <p15:guide id="11" orient="horz" pos="4200">
          <p15:clr>
            <a:srgbClr val="5ACBF0"/>
          </p15:clr>
        </p15:guide>
        <p15:guide id="12" pos="7536">
          <p15:clr>
            <a:srgbClr val="5ACBF0"/>
          </p15:clr>
        </p15:guide>
        <p15:guide id="13" orient="horz" pos="14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olo_03">
    <p:spTree>
      <p:nvGrpSpPr>
        <p:cNvPr id="1" name=""/>
        <p:cNvGrpSpPr/>
        <p:nvPr/>
      </p:nvGrpSpPr>
      <p:grpSpPr>
        <a:xfrm>
          <a:off x="0" y="0"/>
          <a:ext cx="0" cy="0"/>
          <a:chOff x="0" y="0"/>
          <a:chExt cx="0" cy="0"/>
        </a:xfrm>
      </p:grpSpPr>
      <p:sp>
        <p:nvSpPr>
          <p:cNvPr id="7" name="Segnaposto immagine 11">
            <a:extLst>
              <a:ext uri="{FF2B5EF4-FFF2-40B4-BE49-F238E27FC236}">
                <a16:creationId xmlns:a16="http://schemas.microsoft.com/office/drawing/2014/main" id="{47CEAAF6-CCA9-40F8-8A3D-FAAD92220D11}"/>
              </a:ext>
            </a:extLst>
          </p:cNvPr>
          <p:cNvSpPr>
            <a:spLocks noGrp="1"/>
          </p:cNvSpPr>
          <p:nvPr>
            <p:ph type="pic" sz="quarter" idx="10" hasCustomPrompt="1"/>
          </p:nvPr>
        </p:nvSpPr>
        <p:spPr>
          <a:xfrm>
            <a:off x="-2" y="0"/>
            <a:ext cx="12192001" cy="6858000"/>
          </a:xfrm>
        </p:spPr>
        <p:txBody>
          <a:bodyPr rtlCol="0" anchor="ctr" anchorCtr="1">
            <a:normAutofit/>
          </a:bodyPr>
          <a:lstStyle>
            <a:lvl1pPr marL="0" indent="0">
              <a:buNone/>
              <a:defRPr sz="2400">
                <a:solidFill>
                  <a:schemeClr val="bg1"/>
                </a:solidFill>
              </a:defRPr>
            </a:lvl1pPr>
          </a:lstStyle>
          <a:p>
            <a:pPr rtl="0"/>
            <a:r>
              <a:rPr lang="it-IT" noProof="0"/>
              <a:t>Inserisci immagine</a:t>
            </a:r>
          </a:p>
        </p:txBody>
      </p:sp>
      <p:sp>
        <p:nvSpPr>
          <p:cNvPr id="2" name="Titolo 1">
            <a:extLst>
              <a:ext uri="{FF2B5EF4-FFF2-40B4-BE49-F238E27FC236}">
                <a16:creationId xmlns:a16="http://schemas.microsoft.com/office/drawing/2014/main" id="{C1744DE2-A455-46F2-BE15-959050C87CE4}"/>
              </a:ext>
            </a:extLst>
          </p:cNvPr>
          <p:cNvSpPr>
            <a:spLocks noGrp="1"/>
          </p:cNvSpPr>
          <p:nvPr>
            <p:ph type="ctrTitle" hasCustomPrompt="1"/>
          </p:nvPr>
        </p:nvSpPr>
        <p:spPr>
          <a:xfrm>
            <a:off x="316020" y="2404234"/>
            <a:ext cx="5330038" cy="1746504"/>
          </a:xfrm>
        </p:spPr>
        <p:txBody>
          <a:bodyPr vert="horz" lIns="0" tIns="45720" rIns="0" bIns="45720" rtlCol="0" anchor="b" anchorCtr="1">
            <a:noAutofit/>
          </a:bodyPr>
          <a:lstStyle>
            <a:lvl1pPr>
              <a:defRPr lang="en-GB" dirty="0">
                <a:solidFill>
                  <a:schemeClr val="bg1"/>
                </a:solidFill>
              </a:defRPr>
            </a:lvl1pPr>
          </a:lstStyle>
          <a:p>
            <a:pPr marL="0" lvl="0" rtl="0"/>
            <a:r>
              <a:rPr lang="it-IT" noProof="0"/>
              <a:t>TITOLO</a:t>
            </a:r>
          </a:p>
        </p:txBody>
      </p:sp>
      <p:sp>
        <p:nvSpPr>
          <p:cNvPr id="3" name="Sottotitolo 2">
            <a:extLst>
              <a:ext uri="{FF2B5EF4-FFF2-40B4-BE49-F238E27FC236}">
                <a16:creationId xmlns:a16="http://schemas.microsoft.com/office/drawing/2014/main" id="{AC9DE4F3-CE8F-41A0-BFDE-76D0DF1DF432}"/>
              </a:ext>
            </a:extLst>
          </p:cNvPr>
          <p:cNvSpPr>
            <a:spLocks noGrp="1"/>
          </p:cNvSpPr>
          <p:nvPr>
            <p:ph type="subTitle" idx="1" hasCustomPrompt="1"/>
          </p:nvPr>
        </p:nvSpPr>
        <p:spPr>
          <a:xfrm>
            <a:off x="453180" y="4553291"/>
            <a:ext cx="5049510" cy="521208"/>
          </a:xfrm>
        </p:spPr>
        <p:txBody>
          <a:bodyPr vert="horz" lIns="0" tIns="0" rIns="0" bIns="0" rtlCol="0" anchor="t" anchorCtr="1">
            <a:noAutofit/>
          </a:bodyPr>
          <a:lstStyle>
            <a:lvl1pPr marL="0" indent="0">
              <a:lnSpc>
                <a:spcPct val="100000"/>
              </a:lnSpc>
              <a:spcBef>
                <a:spcPts val="0"/>
              </a:spcBef>
              <a:buNone/>
              <a:defRPr lang="en-GB" sz="2000" dirty="0">
                <a:solidFill>
                  <a:schemeClr val="bg1"/>
                </a:solidFill>
              </a:defRPr>
            </a:lvl1pPr>
          </a:lstStyle>
          <a:p>
            <a:pPr lvl="0" rtl="0"/>
            <a:r>
              <a:rPr lang="it-IT" noProof="0"/>
              <a:t>Sottotitolo</a:t>
            </a:r>
          </a:p>
        </p:txBody>
      </p:sp>
    </p:spTree>
    <p:extLst>
      <p:ext uri="{BB962C8B-B14F-4D97-AF65-F5344CB8AC3E}">
        <p14:creationId xmlns:p14="http://schemas.microsoft.com/office/powerpoint/2010/main" val="34771756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estazione della sezione con immagine">
    <p:spTree>
      <p:nvGrpSpPr>
        <p:cNvPr id="1" name=""/>
        <p:cNvGrpSpPr/>
        <p:nvPr/>
      </p:nvGrpSpPr>
      <p:grpSpPr>
        <a:xfrm>
          <a:off x="0" y="0"/>
          <a:ext cx="0" cy="0"/>
          <a:chOff x="0" y="0"/>
          <a:chExt cx="0" cy="0"/>
        </a:xfrm>
      </p:grpSpPr>
      <p:sp>
        <p:nvSpPr>
          <p:cNvPr id="7" name="Segnaposto immagine 11">
            <a:extLst>
              <a:ext uri="{FF2B5EF4-FFF2-40B4-BE49-F238E27FC236}">
                <a16:creationId xmlns:a16="http://schemas.microsoft.com/office/drawing/2014/main" id="{AAF32A0B-D38A-4E4A-BD5E-94B671296508}"/>
              </a:ext>
            </a:extLst>
          </p:cNvPr>
          <p:cNvSpPr>
            <a:spLocks noGrp="1"/>
          </p:cNvSpPr>
          <p:nvPr>
            <p:ph type="pic" sz="quarter" idx="10" hasCustomPrompt="1"/>
          </p:nvPr>
        </p:nvSpPr>
        <p:spPr>
          <a:xfrm>
            <a:off x="-2" y="0"/>
            <a:ext cx="12192001" cy="6858000"/>
          </a:xfrm>
        </p:spPr>
        <p:txBody>
          <a:bodyPr rtlCol="0" anchor="ctr" anchorCtr="1">
            <a:normAutofit/>
          </a:bodyPr>
          <a:lstStyle>
            <a:lvl1pPr marL="0" indent="0">
              <a:buNone/>
              <a:defRPr sz="2400">
                <a:solidFill>
                  <a:schemeClr val="tx1"/>
                </a:solidFill>
              </a:defRPr>
            </a:lvl1pPr>
          </a:lstStyle>
          <a:p>
            <a:pPr rtl="0"/>
            <a:r>
              <a:rPr lang="it-IT" noProof="0"/>
              <a:t>Inserisci immagine</a:t>
            </a:r>
          </a:p>
        </p:txBody>
      </p:sp>
      <p:sp>
        <p:nvSpPr>
          <p:cNvPr id="2" name="Titolo 1">
            <a:extLst>
              <a:ext uri="{FF2B5EF4-FFF2-40B4-BE49-F238E27FC236}">
                <a16:creationId xmlns:a16="http://schemas.microsoft.com/office/drawing/2014/main" id="{2DCD3B46-48AB-439D-A981-D3596F977592}"/>
              </a:ext>
            </a:extLst>
          </p:cNvPr>
          <p:cNvSpPr>
            <a:spLocks noGrp="1"/>
          </p:cNvSpPr>
          <p:nvPr>
            <p:ph type="title"/>
          </p:nvPr>
        </p:nvSpPr>
        <p:spPr>
          <a:xfrm>
            <a:off x="4590288" y="2313432"/>
            <a:ext cx="6592824" cy="2852737"/>
          </a:xfrm>
        </p:spPr>
        <p:txBody>
          <a:bodyPr vert="horz" lIns="91440" tIns="45720" rIns="91440" bIns="45720" rtlCol="0" anchor="b">
            <a:noAutofit/>
          </a:bodyPr>
          <a:lstStyle>
            <a:lvl1pPr>
              <a:defRPr lang="en-GB" sz="6000" dirty="0">
                <a:solidFill>
                  <a:schemeClr val="bg1"/>
                </a:solidFill>
              </a:defRPr>
            </a:lvl1pPr>
          </a:lstStyle>
          <a:p>
            <a:pPr lvl="0" rtl="0"/>
            <a:r>
              <a:rPr lang="it-IT" noProof="0"/>
              <a:t>Fare clic per modificare lo stile del titolo dello schema</a:t>
            </a:r>
          </a:p>
        </p:txBody>
      </p:sp>
      <p:sp>
        <p:nvSpPr>
          <p:cNvPr id="3" name="Segnaposto testo 2">
            <a:extLst>
              <a:ext uri="{FF2B5EF4-FFF2-40B4-BE49-F238E27FC236}">
                <a16:creationId xmlns:a16="http://schemas.microsoft.com/office/drawing/2014/main" id="{2728D712-0D13-4ECD-9BEB-B8EE651FF63F}"/>
              </a:ext>
            </a:extLst>
          </p:cNvPr>
          <p:cNvSpPr>
            <a:spLocks noGrp="1"/>
          </p:cNvSpPr>
          <p:nvPr>
            <p:ph type="body" idx="1" hasCustomPrompt="1"/>
          </p:nvPr>
        </p:nvSpPr>
        <p:spPr>
          <a:xfrm>
            <a:off x="4590288" y="5193792"/>
            <a:ext cx="6592824" cy="978408"/>
          </a:xfrm>
        </p:spPr>
        <p:txBody>
          <a:bodyPr vert="horz" lIns="91440" tIns="45720" rIns="91440" bIns="45720" rtlCol="0">
            <a:noAutofit/>
          </a:bodyPr>
          <a:lstStyle>
            <a:lvl1pPr marL="0" indent="0">
              <a:buNone/>
              <a:defRPr lang="en-US" sz="1600">
                <a:solidFill>
                  <a:schemeClr val="bg1"/>
                </a:solidFill>
              </a:defRPr>
            </a:lvl1pPr>
          </a:lstStyle>
          <a:p>
            <a:pPr marL="228600" lvl="0" indent="-228600" rtl="0"/>
            <a:r>
              <a:rPr lang="it-IT" noProof="0"/>
              <a:t>Fare clic per modificare lo stile del titolo</a:t>
            </a:r>
          </a:p>
        </p:txBody>
      </p:sp>
    </p:spTree>
    <p:extLst>
      <p:ext uri="{BB962C8B-B14F-4D97-AF65-F5344CB8AC3E}">
        <p14:creationId xmlns:p14="http://schemas.microsoft.com/office/powerpoint/2010/main" val="34113088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1 Contenuto_2 colonna">
    <p:spTree>
      <p:nvGrpSpPr>
        <p:cNvPr id="1" name=""/>
        <p:cNvGrpSpPr/>
        <p:nvPr/>
      </p:nvGrpSpPr>
      <p:grpSpPr>
        <a:xfrm>
          <a:off x="0" y="0"/>
          <a:ext cx="0" cy="0"/>
          <a:chOff x="0" y="0"/>
          <a:chExt cx="0" cy="0"/>
        </a:xfrm>
      </p:grpSpPr>
      <p:sp>
        <p:nvSpPr>
          <p:cNvPr id="9" name="Segnaposto immagine 8">
            <a:extLst>
              <a:ext uri="{FF2B5EF4-FFF2-40B4-BE49-F238E27FC236}">
                <a16:creationId xmlns:a16="http://schemas.microsoft.com/office/drawing/2014/main" id="{A46D6285-06A8-4297-915D-0A280359C280}"/>
              </a:ext>
            </a:extLst>
          </p:cNvPr>
          <p:cNvSpPr>
            <a:spLocks noGrp="1"/>
          </p:cNvSpPr>
          <p:nvPr>
            <p:ph type="pic" sz="quarter" idx="10" hasCustomPrompt="1"/>
          </p:nvPr>
        </p:nvSpPr>
        <p:spPr>
          <a:xfrm>
            <a:off x="6836125" y="0"/>
            <a:ext cx="5355875" cy="6858000"/>
          </a:xfrm>
        </p:spPr>
        <p:txBody>
          <a:bodyPr vert="horz" lIns="91440" tIns="45720" rIns="91440" bIns="45720" rtlCol="0" anchor="ctr" anchorCtr="1">
            <a:normAutofit/>
          </a:bodyPr>
          <a:lstStyle>
            <a:lvl1pPr>
              <a:defRPr lang="en-GB" sz="2400">
                <a:solidFill>
                  <a:schemeClr val="tx1"/>
                </a:solidFill>
              </a:defRPr>
            </a:lvl1pPr>
          </a:lstStyle>
          <a:p>
            <a:pPr marL="0" lvl="0" indent="0" rtl="0">
              <a:buNone/>
            </a:pPr>
            <a:r>
              <a:rPr lang="it-IT" noProof="0"/>
              <a:t>Inserisci immagine</a:t>
            </a:r>
          </a:p>
        </p:txBody>
      </p:sp>
      <p:sp>
        <p:nvSpPr>
          <p:cNvPr id="14" name="Segnaposto testo 12">
            <a:extLst>
              <a:ext uri="{FF2B5EF4-FFF2-40B4-BE49-F238E27FC236}">
                <a16:creationId xmlns:a16="http://schemas.microsoft.com/office/drawing/2014/main" id="{C7F0E85E-786D-44FC-A9C8-8853277D7C38}"/>
              </a:ext>
            </a:extLst>
          </p:cNvPr>
          <p:cNvSpPr>
            <a:spLocks noGrp="1"/>
          </p:cNvSpPr>
          <p:nvPr>
            <p:ph type="body" sz="quarter" idx="12" hasCustomPrompt="1"/>
          </p:nvPr>
        </p:nvSpPr>
        <p:spPr>
          <a:xfrm>
            <a:off x="4386558" y="2717803"/>
            <a:ext cx="2834640" cy="3368675"/>
          </a:xfrm>
        </p:spPr>
        <p:txBody>
          <a:bodyPr vert="horz" wrap="square" lIns="0" tIns="45720" rIns="0" bIns="45720" rtlCol="0" anchor="t">
            <a:noAutofit/>
          </a:bodyPr>
          <a:lstStyle>
            <a:lvl1pPr marL="0" indent="0">
              <a:buNone/>
              <a:defRPr lang="en-US" sz="1400" dirty="0" smtClean="0">
                <a:latin typeface="+mn-lt"/>
                <a:ea typeface="+mj-ea"/>
                <a:cs typeface="+mj-cs"/>
              </a:defRPr>
            </a:lvl1pPr>
          </a:lstStyle>
          <a:p>
            <a:pPr marL="57150" lvl="0" indent="-285750" rtl="0">
              <a:lnSpc>
                <a:spcPct val="100000"/>
              </a:lnSpc>
              <a:spcBef>
                <a:spcPct val="0"/>
              </a:spcBef>
            </a:pPr>
            <a:r>
              <a:rPr lang="it-IT" noProof="0"/>
              <a:t>Fare clic per modificare lo stile del titolo</a:t>
            </a:r>
          </a:p>
        </p:txBody>
      </p:sp>
      <p:sp>
        <p:nvSpPr>
          <p:cNvPr id="13" name="Segnaposto testo 12">
            <a:extLst>
              <a:ext uri="{FF2B5EF4-FFF2-40B4-BE49-F238E27FC236}">
                <a16:creationId xmlns:a16="http://schemas.microsoft.com/office/drawing/2014/main" id="{B48BA177-B717-42B2-884C-04576C20342D}"/>
              </a:ext>
            </a:extLst>
          </p:cNvPr>
          <p:cNvSpPr>
            <a:spLocks noGrp="1"/>
          </p:cNvSpPr>
          <p:nvPr>
            <p:ph type="body" sz="quarter" idx="11" hasCustomPrompt="1"/>
          </p:nvPr>
        </p:nvSpPr>
        <p:spPr>
          <a:xfrm>
            <a:off x="647700" y="2717803"/>
            <a:ext cx="2834640" cy="3368675"/>
          </a:xfrm>
        </p:spPr>
        <p:txBody>
          <a:bodyPr vert="horz" wrap="square" lIns="0" tIns="45720" rIns="0" bIns="45720" rtlCol="0" anchor="t">
            <a:noAutofit/>
          </a:bodyPr>
          <a:lstStyle>
            <a:lvl1pPr marL="0" indent="0">
              <a:buNone/>
              <a:defRPr lang="en-US" sz="1400" dirty="0" smtClean="0">
                <a:latin typeface="+mn-lt"/>
                <a:ea typeface="+mj-ea"/>
                <a:cs typeface="+mj-cs"/>
              </a:defRPr>
            </a:lvl1pPr>
          </a:lstStyle>
          <a:p>
            <a:pPr marL="57150" lvl="0" indent="-285750" rtl="0">
              <a:lnSpc>
                <a:spcPct val="100000"/>
              </a:lnSpc>
              <a:spcBef>
                <a:spcPct val="0"/>
              </a:spcBef>
            </a:pPr>
            <a:r>
              <a:rPr lang="it-IT" noProof="0"/>
              <a:t>Fare clic per modificare lo stile del titolo</a:t>
            </a:r>
          </a:p>
        </p:txBody>
      </p:sp>
      <p:sp>
        <p:nvSpPr>
          <p:cNvPr id="2" name="Titolo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6891564" cy="830997"/>
          </a:xfrm>
        </p:spPr>
        <p:txBody>
          <a:bodyPr vert="horz" wrap="square" lIns="0" tIns="45720" rIns="91440" bIns="45720" rtlCol="0" anchor="t">
            <a:noAutofit/>
          </a:bodyPr>
          <a:lstStyle>
            <a:lvl1pPr>
              <a:defRPr lang="en-GB" sz="2400">
                <a:latin typeface="Corbel" panose="020B0503020204020204" pitchFamily="34" charset="0"/>
              </a:defRPr>
            </a:lvl1pPr>
          </a:lstStyle>
          <a:p>
            <a:pPr lvl="0" rtl="0">
              <a:lnSpc>
                <a:spcPct val="100000"/>
              </a:lnSpc>
            </a:pPr>
            <a:r>
              <a:rPr lang="it-IT" noProof="0"/>
              <a:t>Fare clic per modificare lo stile del titolo dello schema</a:t>
            </a:r>
          </a:p>
        </p:txBody>
      </p:sp>
      <p:sp>
        <p:nvSpPr>
          <p:cNvPr id="16" name="Segnaposto contenuto 15">
            <a:extLst>
              <a:ext uri="{FF2B5EF4-FFF2-40B4-BE49-F238E27FC236}">
                <a16:creationId xmlns:a16="http://schemas.microsoft.com/office/drawing/2014/main" id="{C1ABB07C-6957-412E-9A87-72242AA3EE85}"/>
              </a:ext>
            </a:extLst>
          </p:cNvPr>
          <p:cNvSpPr>
            <a:spLocks noGrp="1"/>
          </p:cNvSpPr>
          <p:nvPr>
            <p:ph sz="quarter" idx="13" hasCustomPrompt="1"/>
          </p:nvPr>
        </p:nvSpPr>
        <p:spPr>
          <a:xfrm>
            <a:off x="1906451" y="1981200"/>
            <a:ext cx="548640" cy="548640"/>
          </a:xfrm>
        </p:spPr>
        <p:txBody>
          <a:bodyPr lIns="0" tIns="0" rIns="0" bIns="0" rtlCol="0" anchor="ctr">
            <a:noAutofit/>
          </a:bodyPr>
          <a:lstStyle>
            <a:lvl1pPr marL="0" indent="0" algn="ctr">
              <a:buNone/>
              <a:defRPr sz="1400"/>
            </a:lvl1pPr>
          </a:lstStyle>
          <a:p>
            <a:pPr lvl="0" rtl="0"/>
            <a:r>
              <a:rPr lang="it-IT" noProof="0"/>
              <a:t>Icona</a:t>
            </a:r>
          </a:p>
        </p:txBody>
      </p:sp>
      <p:sp>
        <p:nvSpPr>
          <p:cNvPr id="17" name="Segnaposto contenuto 15">
            <a:extLst>
              <a:ext uri="{FF2B5EF4-FFF2-40B4-BE49-F238E27FC236}">
                <a16:creationId xmlns:a16="http://schemas.microsoft.com/office/drawing/2014/main" id="{6DF8CB66-232E-4CE3-96FC-CE37C74994E1}"/>
              </a:ext>
            </a:extLst>
          </p:cNvPr>
          <p:cNvSpPr>
            <a:spLocks noGrp="1"/>
          </p:cNvSpPr>
          <p:nvPr>
            <p:ph sz="quarter" idx="14" hasCustomPrompt="1"/>
          </p:nvPr>
        </p:nvSpPr>
        <p:spPr>
          <a:xfrm>
            <a:off x="5645309" y="1981200"/>
            <a:ext cx="548640" cy="548640"/>
          </a:xfrm>
        </p:spPr>
        <p:txBody>
          <a:bodyPr lIns="0" tIns="0" rIns="0" bIns="0" rtlCol="0" anchor="ctr">
            <a:noAutofit/>
          </a:bodyPr>
          <a:lstStyle>
            <a:lvl1pPr marL="0" indent="0" algn="ctr">
              <a:buNone/>
              <a:defRPr sz="1400"/>
            </a:lvl1pPr>
          </a:lstStyle>
          <a:p>
            <a:pPr lvl="0" rtl="0"/>
            <a:r>
              <a:rPr lang="it-IT" noProof="0"/>
              <a:t>Icona</a:t>
            </a:r>
          </a:p>
        </p:txBody>
      </p:sp>
      <p:sp>
        <p:nvSpPr>
          <p:cNvPr id="18" name="Segnaposto numero diapositiva 7">
            <a:extLst>
              <a:ext uri="{FF2B5EF4-FFF2-40B4-BE49-F238E27FC236}">
                <a16:creationId xmlns:a16="http://schemas.microsoft.com/office/drawing/2014/main" id="{8728750D-82C7-4A8D-A7C7-554934667964}"/>
              </a:ext>
            </a:extLst>
          </p:cNvPr>
          <p:cNvSpPr>
            <a:spLocks noGrp="1"/>
          </p:cNvSpPr>
          <p:nvPr>
            <p:ph type="sldNum" sz="quarter" idx="4"/>
          </p:nvPr>
        </p:nvSpPr>
        <p:spPr>
          <a:xfrm>
            <a:off x="11091210" y="6189345"/>
            <a:ext cx="600974" cy="395243"/>
          </a:xfrm>
          <a:prstGeom prst="rect">
            <a:avLst/>
          </a:prstGeom>
        </p:spPr>
        <p:txBody>
          <a:bodyPr vert="horz" lIns="0" tIns="0" rIns="0" bIns="0" rtlCol="0" anchor="ctr"/>
          <a:lstStyle>
            <a:lvl1pPr>
              <a:defRPr lang="en-GB" sz="1200" smtClean="0">
                <a:solidFill>
                  <a:schemeClr val="bg1"/>
                </a:solidFill>
              </a:defRPr>
            </a:lvl1pPr>
          </a:lstStyle>
          <a:p>
            <a:pPr algn="ctr" rtl="0"/>
            <a:fld id="{817179DE-9BF3-494C-804F-0C7C90AC8700}" type="slidenum">
              <a:rPr lang="it-IT" noProof="0" smtClean="0"/>
              <a:pPr algn="ctr"/>
              <a:t>‹N›</a:t>
            </a:fld>
            <a:endParaRPr lang="it-IT" noProof="0"/>
          </a:p>
        </p:txBody>
      </p:sp>
    </p:spTree>
    <p:extLst>
      <p:ext uri="{BB962C8B-B14F-4D97-AF65-F5344CB8AC3E}">
        <p14:creationId xmlns:p14="http://schemas.microsoft.com/office/powerpoint/2010/main" val="27720493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1 Contenuto_3 colonna">
    <p:spTree>
      <p:nvGrpSpPr>
        <p:cNvPr id="1" name=""/>
        <p:cNvGrpSpPr/>
        <p:nvPr/>
      </p:nvGrpSpPr>
      <p:grpSpPr>
        <a:xfrm>
          <a:off x="0" y="0"/>
          <a:ext cx="0" cy="0"/>
          <a:chOff x="0" y="0"/>
          <a:chExt cx="0" cy="0"/>
        </a:xfrm>
      </p:grpSpPr>
      <p:sp>
        <p:nvSpPr>
          <p:cNvPr id="9" name="Segnaposto immagine 8">
            <a:extLst>
              <a:ext uri="{FF2B5EF4-FFF2-40B4-BE49-F238E27FC236}">
                <a16:creationId xmlns:a16="http://schemas.microsoft.com/office/drawing/2014/main" id="{A46D6285-06A8-4297-915D-0A280359C280}"/>
              </a:ext>
            </a:extLst>
          </p:cNvPr>
          <p:cNvSpPr>
            <a:spLocks noGrp="1"/>
          </p:cNvSpPr>
          <p:nvPr>
            <p:ph type="pic" sz="quarter" idx="10" hasCustomPrompt="1"/>
          </p:nvPr>
        </p:nvSpPr>
        <p:spPr>
          <a:xfrm>
            <a:off x="1" y="0"/>
            <a:ext cx="12192000" cy="6858000"/>
          </a:xfrm>
        </p:spPr>
        <p:txBody>
          <a:bodyPr vert="horz" lIns="91440" tIns="45720" rIns="91440" bIns="45720" rtlCol="0" anchor="ctr" anchorCtr="1">
            <a:normAutofit/>
          </a:bodyPr>
          <a:lstStyle>
            <a:lvl1pPr>
              <a:defRPr lang="en-GB" sz="2400">
                <a:solidFill>
                  <a:schemeClr val="tx1"/>
                </a:solidFill>
              </a:defRPr>
            </a:lvl1pPr>
          </a:lstStyle>
          <a:p>
            <a:pPr marL="0" lvl="0" indent="0" rtl="0">
              <a:buNone/>
            </a:pPr>
            <a:r>
              <a:rPr lang="it-IT" noProof="0"/>
              <a:t>Inserisci immagine</a:t>
            </a:r>
          </a:p>
        </p:txBody>
      </p:sp>
      <p:sp>
        <p:nvSpPr>
          <p:cNvPr id="14" name="Segnaposto testo 12">
            <a:extLst>
              <a:ext uri="{FF2B5EF4-FFF2-40B4-BE49-F238E27FC236}">
                <a16:creationId xmlns:a16="http://schemas.microsoft.com/office/drawing/2014/main" id="{C7F0E85E-786D-44FC-A9C8-8853277D7C38}"/>
              </a:ext>
            </a:extLst>
          </p:cNvPr>
          <p:cNvSpPr>
            <a:spLocks noGrp="1"/>
          </p:cNvSpPr>
          <p:nvPr>
            <p:ph type="body" sz="quarter" idx="12" hasCustomPrompt="1"/>
          </p:nvPr>
        </p:nvSpPr>
        <p:spPr>
          <a:xfrm>
            <a:off x="3888842" y="2717803"/>
            <a:ext cx="2377440" cy="3368675"/>
          </a:xfrm>
        </p:spPr>
        <p:txBody>
          <a:bodyPr vert="horz" wrap="square" lIns="0" tIns="45720" rIns="0" bIns="45720" rtlCol="0" anchor="t">
            <a:noAutofit/>
          </a:bodyPr>
          <a:lstStyle>
            <a:lvl1pPr marL="0" indent="0">
              <a:buNone/>
              <a:defRPr lang="en-US" sz="1400" dirty="0" smtClean="0">
                <a:solidFill>
                  <a:schemeClr val="bg1">
                    <a:lumMod val="95000"/>
                  </a:schemeClr>
                </a:solidFill>
                <a:latin typeface="+mn-lt"/>
                <a:ea typeface="+mj-ea"/>
                <a:cs typeface="+mj-cs"/>
              </a:defRPr>
            </a:lvl1pPr>
          </a:lstStyle>
          <a:p>
            <a:pPr marL="57150" lvl="0" indent="-285750" rtl="0">
              <a:lnSpc>
                <a:spcPct val="100000"/>
              </a:lnSpc>
              <a:spcBef>
                <a:spcPct val="0"/>
              </a:spcBef>
            </a:pPr>
            <a:r>
              <a:rPr lang="it-IT" noProof="0"/>
              <a:t>Fare clic per modificare lo stile del titolo</a:t>
            </a:r>
          </a:p>
        </p:txBody>
      </p:sp>
      <p:sp>
        <p:nvSpPr>
          <p:cNvPr id="13" name="Segnaposto testo 12">
            <a:extLst>
              <a:ext uri="{FF2B5EF4-FFF2-40B4-BE49-F238E27FC236}">
                <a16:creationId xmlns:a16="http://schemas.microsoft.com/office/drawing/2014/main" id="{B48BA177-B717-42B2-884C-04576C20342D}"/>
              </a:ext>
            </a:extLst>
          </p:cNvPr>
          <p:cNvSpPr>
            <a:spLocks noGrp="1"/>
          </p:cNvSpPr>
          <p:nvPr>
            <p:ph type="body" sz="quarter" idx="11" hasCustomPrompt="1"/>
          </p:nvPr>
        </p:nvSpPr>
        <p:spPr>
          <a:xfrm>
            <a:off x="647700" y="2717803"/>
            <a:ext cx="2377440" cy="3368675"/>
          </a:xfrm>
        </p:spPr>
        <p:txBody>
          <a:bodyPr vert="horz" wrap="square" lIns="0" tIns="45720" rIns="0" bIns="45720" rtlCol="0" anchor="t">
            <a:noAutofit/>
          </a:bodyPr>
          <a:lstStyle>
            <a:lvl1pPr marL="0" indent="0">
              <a:buNone/>
              <a:defRPr lang="en-US" sz="1400" dirty="0" smtClean="0">
                <a:solidFill>
                  <a:schemeClr val="bg1">
                    <a:lumMod val="95000"/>
                  </a:schemeClr>
                </a:solidFill>
                <a:latin typeface="+mn-lt"/>
                <a:ea typeface="+mj-ea"/>
                <a:cs typeface="+mj-cs"/>
              </a:defRPr>
            </a:lvl1pPr>
          </a:lstStyle>
          <a:p>
            <a:pPr marL="57150" lvl="0" indent="-285750" rtl="0">
              <a:lnSpc>
                <a:spcPct val="100000"/>
              </a:lnSpc>
              <a:spcBef>
                <a:spcPct val="0"/>
              </a:spcBef>
            </a:pPr>
            <a:r>
              <a:rPr lang="it-IT" noProof="0"/>
              <a:t>Fare clic per modificare lo stile del titolo</a:t>
            </a:r>
          </a:p>
        </p:txBody>
      </p:sp>
      <p:sp>
        <p:nvSpPr>
          <p:cNvPr id="2" name="Titolo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206264" cy="830997"/>
          </a:xfrm>
        </p:spPr>
        <p:txBody>
          <a:bodyPr vert="horz" wrap="square" lIns="0" tIns="45720" rIns="91440" bIns="45720" rtlCol="0" anchor="t">
            <a:noAutofit/>
          </a:bodyPr>
          <a:lstStyle>
            <a:lvl1pPr>
              <a:defRPr lang="en-GB" sz="2400">
                <a:solidFill>
                  <a:schemeClr val="bg1">
                    <a:lumMod val="95000"/>
                  </a:schemeClr>
                </a:solidFill>
                <a:latin typeface="Corbel" panose="020B0503020204020204" pitchFamily="34" charset="0"/>
              </a:defRPr>
            </a:lvl1pPr>
          </a:lstStyle>
          <a:p>
            <a:pPr lvl="0" rtl="0">
              <a:lnSpc>
                <a:spcPct val="100000"/>
              </a:lnSpc>
            </a:pPr>
            <a:r>
              <a:rPr lang="it-IT" noProof="0"/>
              <a:t>Fare clic per modificare lo stile del titolo dello schema</a:t>
            </a:r>
          </a:p>
        </p:txBody>
      </p:sp>
      <p:sp>
        <p:nvSpPr>
          <p:cNvPr id="16" name="Segnaposto contenuto 15">
            <a:extLst>
              <a:ext uri="{FF2B5EF4-FFF2-40B4-BE49-F238E27FC236}">
                <a16:creationId xmlns:a16="http://schemas.microsoft.com/office/drawing/2014/main" id="{C1ABB07C-6957-412E-9A87-72242AA3EE85}"/>
              </a:ext>
            </a:extLst>
          </p:cNvPr>
          <p:cNvSpPr>
            <a:spLocks noGrp="1"/>
          </p:cNvSpPr>
          <p:nvPr>
            <p:ph sz="quarter" idx="13" hasCustomPrompt="1"/>
          </p:nvPr>
        </p:nvSpPr>
        <p:spPr>
          <a:xfrm>
            <a:off x="1562100" y="1981200"/>
            <a:ext cx="548640" cy="548640"/>
          </a:xfrm>
        </p:spPr>
        <p:txBody>
          <a:bodyPr lIns="0" tIns="0" rIns="0" bIns="0" rtlCol="0" anchor="ctr">
            <a:noAutofit/>
          </a:bodyPr>
          <a:lstStyle>
            <a:lvl1pPr marL="0" indent="0" algn="ctr">
              <a:buNone/>
              <a:defRPr sz="1400">
                <a:solidFill>
                  <a:schemeClr val="bg1">
                    <a:lumMod val="95000"/>
                  </a:schemeClr>
                </a:solidFill>
              </a:defRPr>
            </a:lvl1pPr>
          </a:lstStyle>
          <a:p>
            <a:pPr lvl="0" rtl="0"/>
            <a:r>
              <a:rPr lang="it-IT" noProof="0"/>
              <a:t>Icona</a:t>
            </a:r>
          </a:p>
        </p:txBody>
      </p:sp>
      <p:sp>
        <p:nvSpPr>
          <p:cNvPr id="17" name="Segnaposto contenuto 15">
            <a:extLst>
              <a:ext uri="{FF2B5EF4-FFF2-40B4-BE49-F238E27FC236}">
                <a16:creationId xmlns:a16="http://schemas.microsoft.com/office/drawing/2014/main" id="{6DF8CB66-232E-4CE3-96FC-CE37C74994E1}"/>
              </a:ext>
            </a:extLst>
          </p:cNvPr>
          <p:cNvSpPr>
            <a:spLocks noGrp="1"/>
          </p:cNvSpPr>
          <p:nvPr>
            <p:ph sz="quarter" idx="14" hasCustomPrompt="1"/>
          </p:nvPr>
        </p:nvSpPr>
        <p:spPr>
          <a:xfrm>
            <a:off x="4803242" y="1981200"/>
            <a:ext cx="548640" cy="548640"/>
          </a:xfrm>
        </p:spPr>
        <p:txBody>
          <a:bodyPr lIns="0" tIns="0" rIns="0" bIns="0" rtlCol="0" anchor="ctr">
            <a:noAutofit/>
          </a:bodyPr>
          <a:lstStyle>
            <a:lvl1pPr marL="0" indent="0" algn="ctr">
              <a:buNone/>
              <a:defRPr sz="1400">
                <a:solidFill>
                  <a:schemeClr val="bg1">
                    <a:lumMod val="95000"/>
                  </a:schemeClr>
                </a:solidFill>
              </a:defRPr>
            </a:lvl1pPr>
          </a:lstStyle>
          <a:p>
            <a:pPr lvl="0" rtl="0"/>
            <a:r>
              <a:rPr lang="it-IT" noProof="0"/>
              <a:t>Icona</a:t>
            </a:r>
          </a:p>
        </p:txBody>
      </p:sp>
      <p:sp>
        <p:nvSpPr>
          <p:cNvPr id="8" name="Segnaposto testo 12">
            <a:extLst>
              <a:ext uri="{FF2B5EF4-FFF2-40B4-BE49-F238E27FC236}">
                <a16:creationId xmlns:a16="http://schemas.microsoft.com/office/drawing/2014/main" id="{DEF523FD-B1FC-40A7-93AA-389CB38E17C0}"/>
              </a:ext>
            </a:extLst>
          </p:cNvPr>
          <p:cNvSpPr>
            <a:spLocks noGrp="1"/>
          </p:cNvSpPr>
          <p:nvPr>
            <p:ph type="body" sz="quarter" idx="15" hasCustomPrompt="1"/>
          </p:nvPr>
        </p:nvSpPr>
        <p:spPr>
          <a:xfrm>
            <a:off x="7129985" y="2717803"/>
            <a:ext cx="2377440" cy="3368675"/>
          </a:xfrm>
        </p:spPr>
        <p:txBody>
          <a:bodyPr vert="horz" wrap="square" lIns="0" tIns="45720" rIns="0" bIns="45720" rtlCol="0" anchor="t">
            <a:noAutofit/>
          </a:bodyPr>
          <a:lstStyle>
            <a:lvl1pPr marL="0" indent="0">
              <a:buNone/>
              <a:defRPr lang="en-US" sz="1400" dirty="0" smtClean="0">
                <a:solidFill>
                  <a:schemeClr val="bg1">
                    <a:lumMod val="95000"/>
                  </a:schemeClr>
                </a:solidFill>
                <a:latin typeface="+mn-lt"/>
                <a:ea typeface="+mj-ea"/>
                <a:cs typeface="+mj-cs"/>
              </a:defRPr>
            </a:lvl1pPr>
          </a:lstStyle>
          <a:p>
            <a:pPr marL="57150" lvl="0" indent="-285750" rtl="0">
              <a:lnSpc>
                <a:spcPct val="100000"/>
              </a:lnSpc>
              <a:spcBef>
                <a:spcPct val="0"/>
              </a:spcBef>
            </a:pPr>
            <a:r>
              <a:rPr lang="it-IT" noProof="0"/>
              <a:t>Fare clic per modificare lo stile del titolo</a:t>
            </a:r>
          </a:p>
        </p:txBody>
      </p:sp>
      <p:sp>
        <p:nvSpPr>
          <p:cNvPr id="10" name="Segnaposto contenuto 15">
            <a:extLst>
              <a:ext uri="{FF2B5EF4-FFF2-40B4-BE49-F238E27FC236}">
                <a16:creationId xmlns:a16="http://schemas.microsoft.com/office/drawing/2014/main" id="{B60C8CC8-C869-4395-B389-D76DF4A56AA1}"/>
              </a:ext>
            </a:extLst>
          </p:cNvPr>
          <p:cNvSpPr>
            <a:spLocks noGrp="1"/>
          </p:cNvSpPr>
          <p:nvPr>
            <p:ph sz="quarter" idx="16" hasCustomPrompt="1"/>
          </p:nvPr>
        </p:nvSpPr>
        <p:spPr>
          <a:xfrm>
            <a:off x="8044385" y="1981200"/>
            <a:ext cx="548640" cy="548640"/>
          </a:xfrm>
        </p:spPr>
        <p:txBody>
          <a:bodyPr lIns="0" tIns="0" rIns="0" bIns="0" rtlCol="0" anchor="ctr">
            <a:noAutofit/>
          </a:bodyPr>
          <a:lstStyle>
            <a:lvl1pPr marL="0" indent="0" algn="ctr">
              <a:buNone/>
              <a:defRPr sz="1400">
                <a:solidFill>
                  <a:schemeClr val="bg1">
                    <a:lumMod val="95000"/>
                  </a:schemeClr>
                </a:solidFill>
              </a:defRPr>
            </a:lvl1pPr>
          </a:lstStyle>
          <a:p>
            <a:pPr lvl="0" rtl="0"/>
            <a:r>
              <a:rPr lang="it-IT" noProof="0"/>
              <a:t>Icona</a:t>
            </a:r>
          </a:p>
        </p:txBody>
      </p:sp>
      <p:sp>
        <p:nvSpPr>
          <p:cNvPr id="11" name="Segnaposto numero diapositiva 7">
            <a:extLst>
              <a:ext uri="{FF2B5EF4-FFF2-40B4-BE49-F238E27FC236}">
                <a16:creationId xmlns:a16="http://schemas.microsoft.com/office/drawing/2014/main" id="{E10AF5F6-7B7D-4CE6-A1D0-2F46804D3CE7}"/>
              </a:ext>
            </a:extLst>
          </p:cNvPr>
          <p:cNvSpPr>
            <a:spLocks noGrp="1"/>
          </p:cNvSpPr>
          <p:nvPr>
            <p:ph type="sldNum" sz="quarter" idx="4"/>
          </p:nvPr>
        </p:nvSpPr>
        <p:spPr>
          <a:xfrm>
            <a:off x="11091210" y="6189345"/>
            <a:ext cx="600974" cy="395243"/>
          </a:xfrm>
          <a:prstGeom prst="rect">
            <a:avLst/>
          </a:prstGeom>
        </p:spPr>
        <p:txBody>
          <a:bodyPr vert="horz" lIns="0" tIns="0" rIns="0" bIns="0" rtlCol="0" anchor="ctr"/>
          <a:lstStyle>
            <a:lvl1pPr>
              <a:defRPr lang="en-GB" sz="1200" smtClean="0">
                <a:solidFill>
                  <a:schemeClr val="bg1"/>
                </a:solidFill>
              </a:defRPr>
            </a:lvl1pPr>
          </a:lstStyle>
          <a:p>
            <a:pPr algn="ctr" rtl="0"/>
            <a:fld id="{817179DE-9BF3-494C-804F-0C7C90AC8700}" type="slidenum">
              <a:rPr lang="it-IT" noProof="0" smtClean="0"/>
              <a:pPr algn="ctr"/>
              <a:t>‹N›</a:t>
            </a:fld>
            <a:endParaRPr lang="it-IT" noProof="0"/>
          </a:p>
        </p:txBody>
      </p:sp>
    </p:spTree>
    <p:extLst>
      <p:ext uri="{BB962C8B-B14F-4D97-AF65-F5344CB8AC3E}">
        <p14:creationId xmlns:p14="http://schemas.microsoft.com/office/powerpoint/2010/main" val="10548049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3 Contenuto_2 colonna verticale">
    <p:spTree>
      <p:nvGrpSpPr>
        <p:cNvPr id="1" name=""/>
        <p:cNvGrpSpPr/>
        <p:nvPr/>
      </p:nvGrpSpPr>
      <p:grpSpPr>
        <a:xfrm>
          <a:off x="0" y="0"/>
          <a:ext cx="0" cy="0"/>
          <a:chOff x="0" y="0"/>
          <a:chExt cx="0" cy="0"/>
        </a:xfrm>
      </p:grpSpPr>
      <p:sp>
        <p:nvSpPr>
          <p:cNvPr id="9" name="Segnaposto immagine 8">
            <a:extLst>
              <a:ext uri="{FF2B5EF4-FFF2-40B4-BE49-F238E27FC236}">
                <a16:creationId xmlns:a16="http://schemas.microsoft.com/office/drawing/2014/main" id="{A46D6285-06A8-4297-915D-0A280359C280}"/>
              </a:ext>
            </a:extLst>
          </p:cNvPr>
          <p:cNvSpPr>
            <a:spLocks noGrp="1"/>
          </p:cNvSpPr>
          <p:nvPr>
            <p:ph type="pic" sz="quarter" idx="10" hasCustomPrompt="1"/>
          </p:nvPr>
        </p:nvSpPr>
        <p:spPr>
          <a:xfrm>
            <a:off x="1" y="0"/>
            <a:ext cx="12192000" cy="6858000"/>
          </a:xfrm>
        </p:spPr>
        <p:txBody>
          <a:bodyPr vert="horz" lIns="91440" tIns="45720" rIns="91440" bIns="45720" rtlCol="0" anchor="ctr" anchorCtr="1">
            <a:normAutofit/>
          </a:bodyPr>
          <a:lstStyle>
            <a:lvl1pPr>
              <a:defRPr lang="en-GB" sz="2400">
                <a:solidFill>
                  <a:schemeClr val="tx1"/>
                </a:solidFill>
              </a:defRPr>
            </a:lvl1pPr>
          </a:lstStyle>
          <a:p>
            <a:pPr marL="0" lvl="0" indent="0" rtl="0">
              <a:buNone/>
            </a:pPr>
            <a:r>
              <a:rPr lang="it-IT" noProof="0"/>
              <a:t>Inserisci immagine</a:t>
            </a:r>
          </a:p>
        </p:txBody>
      </p:sp>
      <p:sp>
        <p:nvSpPr>
          <p:cNvPr id="13" name="Segnaposto testo 12">
            <a:extLst>
              <a:ext uri="{FF2B5EF4-FFF2-40B4-BE49-F238E27FC236}">
                <a16:creationId xmlns:a16="http://schemas.microsoft.com/office/drawing/2014/main" id="{B48BA177-B717-42B2-884C-04576C20342D}"/>
              </a:ext>
            </a:extLst>
          </p:cNvPr>
          <p:cNvSpPr>
            <a:spLocks noGrp="1"/>
          </p:cNvSpPr>
          <p:nvPr>
            <p:ph type="body" sz="quarter" idx="11" hasCustomPrompt="1"/>
          </p:nvPr>
        </p:nvSpPr>
        <p:spPr>
          <a:xfrm>
            <a:off x="1809750" y="1847927"/>
            <a:ext cx="7315200" cy="1461613"/>
          </a:xfrm>
        </p:spPr>
        <p:txBody>
          <a:bodyPr vert="horz" wrap="square" lIns="0" tIns="45720" rIns="0" bIns="45720" rtlCol="0" anchor="t">
            <a:noAutofit/>
          </a:bodyPr>
          <a:lstStyle>
            <a:lvl1pPr>
              <a:defRPr lang="en-US" sz="1400" dirty="0" smtClean="0">
                <a:solidFill>
                  <a:schemeClr val="bg1">
                    <a:lumMod val="95000"/>
                  </a:schemeClr>
                </a:solidFill>
                <a:latin typeface="+mn-lt"/>
                <a:ea typeface="+mj-ea"/>
                <a:cs typeface="+mj-cs"/>
              </a:defRPr>
            </a:lvl1pPr>
          </a:lstStyle>
          <a:p>
            <a:pPr marL="0" lvl="0" rtl="0">
              <a:lnSpc>
                <a:spcPct val="100000"/>
              </a:lnSpc>
              <a:spcBef>
                <a:spcPct val="0"/>
              </a:spcBef>
              <a:buNone/>
            </a:pPr>
            <a:r>
              <a:rPr lang="it-IT" noProof="0"/>
              <a:t>Fare clic per modificare lo stile del titolo</a:t>
            </a:r>
          </a:p>
        </p:txBody>
      </p:sp>
      <p:sp>
        <p:nvSpPr>
          <p:cNvPr id="2" name="Titolo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206264" cy="830997"/>
          </a:xfrm>
        </p:spPr>
        <p:txBody>
          <a:bodyPr vert="horz" wrap="square" lIns="0" tIns="45720" rIns="91440" bIns="45720" rtlCol="0" anchor="t">
            <a:noAutofit/>
          </a:bodyPr>
          <a:lstStyle>
            <a:lvl1pPr>
              <a:defRPr lang="en-GB" sz="2400">
                <a:solidFill>
                  <a:schemeClr val="bg1">
                    <a:lumMod val="95000"/>
                  </a:schemeClr>
                </a:solidFill>
                <a:latin typeface="Corbel" panose="020B0503020204020204" pitchFamily="34" charset="0"/>
              </a:defRPr>
            </a:lvl1pPr>
          </a:lstStyle>
          <a:p>
            <a:pPr lvl="0" rtl="0">
              <a:lnSpc>
                <a:spcPct val="100000"/>
              </a:lnSpc>
            </a:pPr>
            <a:r>
              <a:rPr lang="it-IT" noProof="0"/>
              <a:t>Fare clic per modificare lo stile del titolo dello schema</a:t>
            </a:r>
          </a:p>
        </p:txBody>
      </p:sp>
      <p:sp>
        <p:nvSpPr>
          <p:cNvPr id="16" name="Segnaposto contenuto 15">
            <a:extLst>
              <a:ext uri="{FF2B5EF4-FFF2-40B4-BE49-F238E27FC236}">
                <a16:creationId xmlns:a16="http://schemas.microsoft.com/office/drawing/2014/main" id="{C1ABB07C-6957-412E-9A87-72242AA3EE85}"/>
              </a:ext>
            </a:extLst>
          </p:cNvPr>
          <p:cNvSpPr>
            <a:spLocks noGrp="1"/>
          </p:cNvSpPr>
          <p:nvPr>
            <p:ph sz="quarter" idx="13" hasCustomPrompt="1"/>
          </p:nvPr>
        </p:nvSpPr>
        <p:spPr>
          <a:xfrm>
            <a:off x="647700" y="2304413"/>
            <a:ext cx="548640" cy="548640"/>
          </a:xfrm>
        </p:spPr>
        <p:txBody>
          <a:bodyPr lIns="0" tIns="0" rIns="0" bIns="0" rtlCol="0" anchor="ctr">
            <a:noAutofit/>
          </a:bodyPr>
          <a:lstStyle>
            <a:lvl1pPr marL="0" indent="0" algn="ctr">
              <a:buNone/>
              <a:defRPr sz="1400">
                <a:solidFill>
                  <a:schemeClr val="bg1">
                    <a:lumMod val="95000"/>
                  </a:schemeClr>
                </a:solidFill>
              </a:defRPr>
            </a:lvl1pPr>
          </a:lstStyle>
          <a:p>
            <a:pPr lvl="0" rtl="0"/>
            <a:r>
              <a:rPr lang="it-IT" noProof="0"/>
              <a:t>Icona</a:t>
            </a:r>
          </a:p>
        </p:txBody>
      </p:sp>
      <p:sp>
        <p:nvSpPr>
          <p:cNvPr id="11" name="Segnaposto testo 12">
            <a:extLst>
              <a:ext uri="{FF2B5EF4-FFF2-40B4-BE49-F238E27FC236}">
                <a16:creationId xmlns:a16="http://schemas.microsoft.com/office/drawing/2014/main" id="{C3BB8EAB-4266-4938-A8CB-6D18C938017F}"/>
              </a:ext>
            </a:extLst>
          </p:cNvPr>
          <p:cNvSpPr>
            <a:spLocks noGrp="1"/>
          </p:cNvSpPr>
          <p:nvPr>
            <p:ph type="body" sz="quarter" idx="14" hasCustomPrompt="1"/>
          </p:nvPr>
        </p:nvSpPr>
        <p:spPr>
          <a:xfrm>
            <a:off x="1809750" y="4048520"/>
            <a:ext cx="7315200" cy="1461613"/>
          </a:xfrm>
        </p:spPr>
        <p:txBody>
          <a:bodyPr vert="horz" wrap="square" lIns="0" tIns="45720" rIns="0" bIns="45720" rtlCol="0" anchor="t">
            <a:noAutofit/>
          </a:bodyPr>
          <a:lstStyle>
            <a:lvl1pPr>
              <a:defRPr lang="en-US" sz="1400" dirty="0" smtClean="0">
                <a:solidFill>
                  <a:schemeClr val="bg1">
                    <a:lumMod val="95000"/>
                  </a:schemeClr>
                </a:solidFill>
                <a:latin typeface="+mn-lt"/>
                <a:ea typeface="+mj-ea"/>
                <a:cs typeface="+mj-cs"/>
              </a:defRPr>
            </a:lvl1pPr>
          </a:lstStyle>
          <a:p>
            <a:pPr marL="0" lvl="0" rtl="0">
              <a:lnSpc>
                <a:spcPct val="100000"/>
              </a:lnSpc>
              <a:spcBef>
                <a:spcPct val="0"/>
              </a:spcBef>
              <a:buNone/>
            </a:pPr>
            <a:r>
              <a:rPr lang="it-IT" noProof="0"/>
              <a:t>Fare clic per modificare lo stile del titolo</a:t>
            </a:r>
          </a:p>
        </p:txBody>
      </p:sp>
      <p:sp>
        <p:nvSpPr>
          <p:cNvPr id="12" name="Segnaposto contenuto 15">
            <a:extLst>
              <a:ext uri="{FF2B5EF4-FFF2-40B4-BE49-F238E27FC236}">
                <a16:creationId xmlns:a16="http://schemas.microsoft.com/office/drawing/2014/main" id="{716D363C-A0A5-4FB1-8CC2-850C0CD9F4E7}"/>
              </a:ext>
            </a:extLst>
          </p:cNvPr>
          <p:cNvSpPr>
            <a:spLocks noGrp="1"/>
          </p:cNvSpPr>
          <p:nvPr>
            <p:ph sz="quarter" idx="15" hasCustomPrompt="1"/>
          </p:nvPr>
        </p:nvSpPr>
        <p:spPr>
          <a:xfrm>
            <a:off x="647700" y="4505006"/>
            <a:ext cx="548640" cy="548640"/>
          </a:xfrm>
        </p:spPr>
        <p:txBody>
          <a:bodyPr lIns="0" tIns="0" rIns="0" bIns="0" rtlCol="0" anchor="ctr">
            <a:noAutofit/>
          </a:bodyPr>
          <a:lstStyle>
            <a:lvl1pPr marL="0" indent="0" algn="ctr">
              <a:buNone/>
              <a:defRPr sz="1400">
                <a:solidFill>
                  <a:schemeClr val="bg1">
                    <a:lumMod val="95000"/>
                  </a:schemeClr>
                </a:solidFill>
              </a:defRPr>
            </a:lvl1pPr>
          </a:lstStyle>
          <a:p>
            <a:pPr lvl="0" rtl="0"/>
            <a:r>
              <a:rPr lang="it-IT" noProof="0"/>
              <a:t>Icona</a:t>
            </a:r>
          </a:p>
        </p:txBody>
      </p:sp>
      <p:sp>
        <p:nvSpPr>
          <p:cNvPr id="15" name="Segnaposto numero diapositiva 7">
            <a:extLst>
              <a:ext uri="{FF2B5EF4-FFF2-40B4-BE49-F238E27FC236}">
                <a16:creationId xmlns:a16="http://schemas.microsoft.com/office/drawing/2014/main" id="{AAF4A39B-C3C3-4691-BB94-371047ADD50E}"/>
              </a:ext>
            </a:extLst>
          </p:cNvPr>
          <p:cNvSpPr>
            <a:spLocks noGrp="1"/>
          </p:cNvSpPr>
          <p:nvPr>
            <p:ph type="sldNum" sz="quarter" idx="4"/>
          </p:nvPr>
        </p:nvSpPr>
        <p:spPr>
          <a:xfrm>
            <a:off x="11091210" y="6189345"/>
            <a:ext cx="600974" cy="395243"/>
          </a:xfrm>
          <a:prstGeom prst="rect">
            <a:avLst/>
          </a:prstGeom>
        </p:spPr>
        <p:txBody>
          <a:bodyPr vert="horz" lIns="0" tIns="0" rIns="0" bIns="0" rtlCol="0" anchor="ctr"/>
          <a:lstStyle>
            <a:lvl1pPr>
              <a:defRPr lang="en-GB" sz="1200" smtClean="0">
                <a:solidFill>
                  <a:schemeClr val="bg1"/>
                </a:solidFill>
              </a:defRPr>
            </a:lvl1pPr>
          </a:lstStyle>
          <a:p>
            <a:pPr algn="ctr" rtl="0"/>
            <a:fld id="{817179DE-9BF3-494C-804F-0C7C90AC8700}" type="slidenum">
              <a:rPr lang="it-IT" noProof="0" smtClean="0"/>
              <a:pPr algn="ctr"/>
              <a:t>‹N›</a:t>
            </a:fld>
            <a:endParaRPr lang="it-IT" noProof="0"/>
          </a:p>
        </p:txBody>
      </p:sp>
    </p:spTree>
    <p:extLst>
      <p:ext uri="{BB962C8B-B14F-4D97-AF65-F5344CB8AC3E}">
        <p14:creationId xmlns:p14="http://schemas.microsoft.com/office/powerpoint/2010/main" val="24471900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4 Contenuto_1 colonna">
    <p:spTree>
      <p:nvGrpSpPr>
        <p:cNvPr id="1" name=""/>
        <p:cNvGrpSpPr/>
        <p:nvPr/>
      </p:nvGrpSpPr>
      <p:grpSpPr>
        <a:xfrm>
          <a:off x="0" y="0"/>
          <a:ext cx="0" cy="0"/>
          <a:chOff x="0" y="0"/>
          <a:chExt cx="0" cy="0"/>
        </a:xfrm>
      </p:grpSpPr>
      <p:sp>
        <p:nvSpPr>
          <p:cNvPr id="9" name="Segnaposto immagine 8">
            <a:extLst>
              <a:ext uri="{FF2B5EF4-FFF2-40B4-BE49-F238E27FC236}">
                <a16:creationId xmlns:a16="http://schemas.microsoft.com/office/drawing/2014/main" id="{A46D6285-06A8-4297-915D-0A280359C280}"/>
              </a:ext>
            </a:extLst>
          </p:cNvPr>
          <p:cNvSpPr>
            <a:spLocks noGrp="1"/>
          </p:cNvSpPr>
          <p:nvPr>
            <p:ph type="pic" sz="quarter" idx="10" hasCustomPrompt="1"/>
          </p:nvPr>
        </p:nvSpPr>
        <p:spPr>
          <a:xfrm>
            <a:off x="1" y="0"/>
            <a:ext cx="12192000" cy="6858000"/>
          </a:xfrm>
        </p:spPr>
        <p:txBody>
          <a:bodyPr vert="horz" lIns="91440" tIns="45720" rIns="91440" bIns="45720" rtlCol="0" anchor="ctr" anchorCtr="1">
            <a:normAutofit/>
          </a:bodyPr>
          <a:lstStyle>
            <a:lvl1pPr>
              <a:defRPr lang="en-GB" sz="2400">
                <a:solidFill>
                  <a:schemeClr val="tx1"/>
                </a:solidFill>
              </a:defRPr>
            </a:lvl1pPr>
          </a:lstStyle>
          <a:p>
            <a:pPr marL="0" lvl="0" indent="0" rtl="0">
              <a:buNone/>
            </a:pPr>
            <a:r>
              <a:rPr lang="it-IT" noProof="0"/>
              <a:t>Inserisci immagine</a:t>
            </a:r>
          </a:p>
        </p:txBody>
      </p:sp>
      <p:sp>
        <p:nvSpPr>
          <p:cNvPr id="13" name="Segnaposto testo 12">
            <a:extLst>
              <a:ext uri="{FF2B5EF4-FFF2-40B4-BE49-F238E27FC236}">
                <a16:creationId xmlns:a16="http://schemas.microsoft.com/office/drawing/2014/main" id="{B48BA177-B717-42B2-884C-04576C20342D}"/>
              </a:ext>
            </a:extLst>
          </p:cNvPr>
          <p:cNvSpPr>
            <a:spLocks noGrp="1"/>
          </p:cNvSpPr>
          <p:nvPr>
            <p:ph type="body" sz="quarter" idx="11" hasCustomPrompt="1"/>
          </p:nvPr>
        </p:nvSpPr>
        <p:spPr>
          <a:xfrm>
            <a:off x="1562100" y="1733627"/>
            <a:ext cx="2438400" cy="4248073"/>
          </a:xfrm>
        </p:spPr>
        <p:txBody>
          <a:bodyPr vert="horz" wrap="square" lIns="0" tIns="45720" rIns="0" bIns="45720" rtlCol="0" anchor="t">
            <a:noAutofit/>
          </a:bodyPr>
          <a:lstStyle>
            <a:lvl1pPr>
              <a:defRPr lang="en-US" sz="1400" dirty="0" smtClean="0">
                <a:solidFill>
                  <a:schemeClr val="bg1">
                    <a:lumMod val="95000"/>
                  </a:schemeClr>
                </a:solidFill>
                <a:latin typeface="+mn-lt"/>
                <a:ea typeface="+mj-ea"/>
                <a:cs typeface="+mj-cs"/>
              </a:defRPr>
            </a:lvl1pPr>
          </a:lstStyle>
          <a:p>
            <a:pPr marL="0" lvl="0" rtl="0">
              <a:lnSpc>
                <a:spcPct val="100000"/>
              </a:lnSpc>
              <a:spcBef>
                <a:spcPct val="0"/>
              </a:spcBef>
              <a:buNone/>
            </a:pPr>
            <a:r>
              <a:rPr lang="it-IT" noProof="0"/>
              <a:t>Fare clic per modificare lo stile del titolo</a:t>
            </a:r>
          </a:p>
        </p:txBody>
      </p:sp>
      <p:sp>
        <p:nvSpPr>
          <p:cNvPr id="2" name="Titolo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206264" cy="830997"/>
          </a:xfrm>
        </p:spPr>
        <p:txBody>
          <a:bodyPr vert="horz" wrap="square" lIns="0" tIns="45720" rIns="91440" bIns="45720" rtlCol="0" anchor="t">
            <a:noAutofit/>
          </a:bodyPr>
          <a:lstStyle>
            <a:lvl1pPr>
              <a:defRPr lang="en-GB" sz="2400">
                <a:solidFill>
                  <a:schemeClr val="bg1">
                    <a:lumMod val="95000"/>
                  </a:schemeClr>
                </a:solidFill>
                <a:latin typeface="Corbel" panose="020B0503020204020204" pitchFamily="34" charset="0"/>
              </a:defRPr>
            </a:lvl1pPr>
          </a:lstStyle>
          <a:p>
            <a:pPr lvl="0" rtl="0">
              <a:lnSpc>
                <a:spcPct val="100000"/>
              </a:lnSpc>
            </a:pPr>
            <a:r>
              <a:rPr lang="it-IT" noProof="0"/>
              <a:t>Fare clic per modificare lo stile del titolo dello schema</a:t>
            </a:r>
          </a:p>
        </p:txBody>
      </p:sp>
      <p:sp>
        <p:nvSpPr>
          <p:cNvPr id="16" name="Segnaposto contenuto 15">
            <a:extLst>
              <a:ext uri="{FF2B5EF4-FFF2-40B4-BE49-F238E27FC236}">
                <a16:creationId xmlns:a16="http://schemas.microsoft.com/office/drawing/2014/main" id="{C1ABB07C-6957-412E-9A87-72242AA3EE85}"/>
              </a:ext>
            </a:extLst>
          </p:cNvPr>
          <p:cNvSpPr>
            <a:spLocks noGrp="1"/>
          </p:cNvSpPr>
          <p:nvPr>
            <p:ph sz="quarter" idx="13" hasCustomPrompt="1"/>
          </p:nvPr>
        </p:nvSpPr>
        <p:spPr>
          <a:xfrm>
            <a:off x="647700" y="1733627"/>
            <a:ext cx="548640" cy="548640"/>
          </a:xfrm>
        </p:spPr>
        <p:txBody>
          <a:bodyPr lIns="0" tIns="0" rIns="0" bIns="0" rtlCol="0" anchor="ctr">
            <a:noAutofit/>
          </a:bodyPr>
          <a:lstStyle>
            <a:lvl1pPr marL="0" indent="0" algn="ctr">
              <a:buNone/>
              <a:defRPr sz="1400">
                <a:solidFill>
                  <a:schemeClr val="bg1">
                    <a:lumMod val="95000"/>
                  </a:schemeClr>
                </a:solidFill>
              </a:defRPr>
            </a:lvl1pPr>
          </a:lstStyle>
          <a:p>
            <a:pPr lvl="0" rtl="0"/>
            <a:r>
              <a:rPr lang="it-IT" noProof="0"/>
              <a:t>Icona</a:t>
            </a:r>
          </a:p>
        </p:txBody>
      </p:sp>
      <p:sp>
        <p:nvSpPr>
          <p:cNvPr id="8" name="Segnaposto numero diapositiva 7">
            <a:extLst>
              <a:ext uri="{FF2B5EF4-FFF2-40B4-BE49-F238E27FC236}">
                <a16:creationId xmlns:a16="http://schemas.microsoft.com/office/drawing/2014/main" id="{100F546D-5491-4A19-9725-5C920C5738BE}"/>
              </a:ext>
            </a:extLst>
          </p:cNvPr>
          <p:cNvSpPr>
            <a:spLocks noGrp="1"/>
          </p:cNvSpPr>
          <p:nvPr>
            <p:ph type="sldNum" sz="quarter" idx="4"/>
          </p:nvPr>
        </p:nvSpPr>
        <p:spPr>
          <a:xfrm>
            <a:off x="11091210" y="6189345"/>
            <a:ext cx="600974" cy="395243"/>
          </a:xfrm>
          <a:prstGeom prst="rect">
            <a:avLst/>
          </a:prstGeom>
        </p:spPr>
        <p:txBody>
          <a:bodyPr vert="horz" lIns="0" tIns="0" rIns="0" bIns="0" rtlCol="0" anchor="ctr"/>
          <a:lstStyle>
            <a:lvl1pPr>
              <a:defRPr lang="en-GB" sz="1200" smtClean="0">
                <a:solidFill>
                  <a:schemeClr val="bg1"/>
                </a:solidFill>
              </a:defRPr>
            </a:lvl1pPr>
          </a:lstStyle>
          <a:p>
            <a:pPr algn="ctr" rtl="0"/>
            <a:fld id="{817179DE-9BF3-494C-804F-0C7C90AC8700}" type="slidenum">
              <a:rPr lang="it-IT" noProof="0" smtClean="0"/>
              <a:pPr algn="ctr"/>
              <a:t>‹N›</a:t>
            </a:fld>
            <a:endParaRPr lang="it-IT" noProof="0"/>
          </a:p>
        </p:txBody>
      </p:sp>
    </p:spTree>
    <p:extLst>
      <p:ext uri="{BB962C8B-B14F-4D97-AF65-F5344CB8AC3E}">
        <p14:creationId xmlns:p14="http://schemas.microsoft.com/office/powerpoint/2010/main" val="22159733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5 Contenuto">
    <p:spTree>
      <p:nvGrpSpPr>
        <p:cNvPr id="1" name=""/>
        <p:cNvGrpSpPr/>
        <p:nvPr/>
      </p:nvGrpSpPr>
      <p:grpSpPr>
        <a:xfrm>
          <a:off x="0" y="0"/>
          <a:ext cx="0" cy="0"/>
          <a:chOff x="0" y="0"/>
          <a:chExt cx="0" cy="0"/>
        </a:xfrm>
      </p:grpSpPr>
      <p:sp>
        <p:nvSpPr>
          <p:cNvPr id="13" name="Segnaposto testo 12">
            <a:extLst>
              <a:ext uri="{FF2B5EF4-FFF2-40B4-BE49-F238E27FC236}">
                <a16:creationId xmlns:a16="http://schemas.microsoft.com/office/drawing/2014/main" id="{B48BA177-B717-42B2-884C-04576C20342D}"/>
              </a:ext>
            </a:extLst>
          </p:cNvPr>
          <p:cNvSpPr>
            <a:spLocks noGrp="1"/>
          </p:cNvSpPr>
          <p:nvPr>
            <p:ph type="body" sz="quarter" idx="11" hasCustomPrompt="1"/>
          </p:nvPr>
        </p:nvSpPr>
        <p:spPr>
          <a:xfrm>
            <a:off x="1562100" y="1733627"/>
            <a:ext cx="8534400" cy="4248073"/>
          </a:xfrm>
        </p:spPr>
        <p:txBody>
          <a:bodyPr vert="horz" wrap="square" lIns="0" tIns="45720" rIns="0" bIns="45720" rtlCol="0" anchor="t">
            <a:noAutofit/>
          </a:bodyPr>
          <a:lstStyle>
            <a:lvl1pPr>
              <a:defRPr lang="en-US" sz="1400" dirty="0" smtClean="0">
                <a:solidFill>
                  <a:schemeClr val="tx1"/>
                </a:solidFill>
                <a:latin typeface="+mn-lt"/>
                <a:ea typeface="+mj-ea"/>
                <a:cs typeface="+mj-cs"/>
              </a:defRPr>
            </a:lvl1pPr>
          </a:lstStyle>
          <a:p>
            <a:pPr marL="0" lvl="0" rtl="0">
              <a:lnSpc>
                <a:spcPct val="100000"/>
              </a:lnSpc>
              <a:spcBef>
                <a:spcPct val="0"/>
              </a:spcBef>
              <a:buNone/>
            </a:pPr>
            <a:r>
              <a:rPr lang="it-IT" noProof="0"/>
              <a:t>Fare clic per modificare lo stile del titolo</a:t>
            </a:r>
          </a:p>
        </p:txBody>
      </p:sp>
      <p:sp>
        <p:nvSpPr>
          <p:cNvPr id="2" name="Titolo 1">
            <a:extLst>
              <a:ext uri="{FF2B5EF4-FFF2-40B4-BE49-F238E27FC236}">
                <a16:creationId xmlns:a16="http://schemas.microsoft.com/office/drawing/2014/main" id="{2558FCDE-8F3F-4E83-B550-DF944B424F78}"/>
              </a:ext>
            </a:extLst>
          </p:cNvPr>
          <p:cNvSpPr>
            <a:spLocks noGrp="1"/>
          </p:cNvSpPr>
          <p:nvPr>
            <p:ph type="title"/>
          </p:nvPr>
        </p:nvSpPr>
        <p:spPr>
          <a:xfrm>
            <a:off x="633186" y="557439"/>
            <a:ext cx="10815864" cy="830997"/>
          </a:xfrm>
        </p:spPr>
        <p:txBody>
          <a:bodyPr vert="horz" wrap="square" lIns="0" tIns="45720" rIns="91440" bIns="45720" rtlCol="0" anchor="t">
            <a:noAutofit/>
          </a:bodyPr>
          <a:lstStyle>
            <a:lvl1pPr>
              <a:defRPr lang="en-GB" sz="2400">
                <a:solidFill>
                  <a:schemeClr val="tx1"/>
                </a:solidFill>
                <a:latin typeface="Corbel" panose="020B0503020204020204" pitchFamily="34" charset="0"/>
              </a:defRPr>
            </a:lvl1pPr>
          </a:lstStyle>
          <a:p>
            <a:pPr lvl="0" rtl="0">
              <a:lnSpc>
                <a:spcPct val="100000"/>
              </a:lnSpc>
            </a:pPr>
            <a:r>
              <a:rPr lang="it-IT" noProof="0"/>
              <a:t>Fare clic per modificare lo stile del titolo dello schema</a:t>
            </a:r>
          </a:p>
        </p:txBody>
      </p:sp>
      <p:sp>
        <p:nvSpPr>
          <p:cNvPr id="16" name="Segnaposto contenuto 15">
            <a:extLst>
              <a:ext uri="{FF2B5EF4-FFF2-40B4-BE49-F238E27FC236}">
                <a16:creationId xmlns:a16="http://schemas.microsoft.com/office/drawing/2014/main" id="{C1ABB07C-6957-412E-9A87-72242AA3EE85}"/>
              </a:ext>
            </a:extLst>
          </p:cNvPr>
          <p:cNvSpPr>
            <a:spLocks noGrp="1"/>
          </p:cNvSpPr>
          <p:nvPr>
            <p:ph sz="quarter" idx="13" hasCustomPrompt="1"/>
          </p:nvPr>
        </p:nvSpPr>
        <p:spPr>
          <a:xfrm>
            <a:off x="647700" y="1733627"/>
            <a:ext cx="548640" cy="548640"/>
          </a:xfrm>
        </p:spPr>
        <p:txBody>
          <a:bodyPr lIns="0" tIns="0" rIns="0" bIns="0" rtlCol="0" anchor="ctr">
            <a:noAutofit/>
          </a:bodyPr>
          <a:lstStyle>
            <a:lvl1pPr marL="0" indent="0" algn="ctr">
              <a:buNone/>
              <a:defRPr sz="1400">
                <a:solidFill>
                  <a:schemeClr val="tx1"/>
                </a:solidFill>
              </a:defRPr>
            </a:lvl1pPr>
          </a:lstStyle>
          <a:p>
            <a:pPr lvl="0" rtl="0"/>
            <a:r>
              <a:rPr lang="it-IT" noProof="0"/>
              <a:t>Icona</a:t>
            </a:r>
          </a:p>
        </p:txBody>
      </p:sp>
      <p:grpSp>
        <p:nvGrpSpPr>
          <p:cNvPr id="11" name="Gruppo 10">
            <a:extLst>
              <a:ext uri="{FF2B5EF4-FFF2-40B4-BE49-F238E27FC236}">
                <a16:creationId xmlns:a16="http://schemas.microsoft.com/office/drawing/2014/main" id="{00AC1958-0DCB-4970-ADE3-E64DAAFC501D}"/>
              </a:ext>
            </a:extLst>
          </p:cNvPr>
          <p:cNvGrpSpPr/>
          <p:nvPr userDrawn="1"/>
        </p:nvGrpSpPr>
        <p:grpSpPr>
          <a:xfrm>
            <a:off x="0" y="6086479"/>
            <a:ext cx="12192000" cy="600974"/>
            <a:chOff x="0" y="6086479"/>
            <a:chExt cx="12192000" cy="600974"/>
          </a:xfrm>
        </p:grpSpPr>
        <p:sp>
          <p:nvSpPr>
            <p:cNvPr id="12" name="Rettangolo 11">
              <a:extLst>
                <a:ext uri="{FF2B5EF4-FFF2-40B4-BE49-F238E27FC236}">
                  <a16:creationId xmlns:a16="http://schemas.microsoft.com/office/drawing/2014/main" id="{9E71A8D8-5A28-4968-9E80-110E9CB88F92}"/>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4" name="Ovale 13">
              <a:extLst>
                <a:ext uri="{FF2B5EF4-FFF2-40B4-BE49-F238E27FC236}">
                  <a16:creationId xmlns:a16="http://schemas.microsoft.com/office/drawing/2014/main" id="{7239C02C-1FAD-4E73-AB32-5A30A946A447}"/>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
        <p:nvSpPr>
          <p:cNvPr id="15" name="Segnaposto numero diapositiva 5">
            <a:extLst>
              <a:ext uri="{FF2B5EF4-FFF2-40B4-BE49-F238E27FC236}">
                <a16:creationId xmlns:a16="http://schemas.microsoft.com/office/drawing/2014/main" id="{FF40D550-A563-4E50-AEE9-6D9D19499F9F}"/>
              </a:ext>
            </a:extLst>
          </p:cNvPr>
          <p:cNvSpPr txBox="1">
            <a:spLocks/>
          </p:cNvSpPr>
          <p:nvPr userDrawn="1"/>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noProof="0" smtClean="0">
                <a:solidFill>
                  <a:schemeClr val="bg1"/>
                </a:solidFill>
              </a:rPr>
              <a:pPr algn="ctr"/>
              <a:t>‹N›</a:t>
            </a:fld>
            <a:endParaRPr lang="it-IT" sz="1200" noProof="0">
              <a:solidFill>
                <a:schemeClr val="bg1"/>
              </a:solidFill>
            </a:endParaRPr>
          </a:p>
        </p:txBody>
      </p:sp>
    </p:spTree>
    <p:extLst>
      <p:ext uri="{BB962C8B-B14F-4D97-AF65-F5344CB8AC3E}">
        <p14:creationId xmlns:p14="http://schemas.microsoft.com/office/powerpoint/2010/main" val="18306571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6D95A6E3-87FF-0FB8-C804-2B541BEBD3E0}"/>
              </a:ext>
            </a:extLst>
          </p:cNvPr>
          <p:cNvGraphicFramePr>
            <a:graphicFrameLocks noChangeAspect="1"/>
          </p:cNvGraphicFramePr>
          <p:nvPr userDrawn="1">
            <p:custDataLst>
              <p:tags r:id="rId23"/>
            </p:custDataLst>
            <p:extLst>
              <p:ext uri="{D42A27DB-BD31-4B8C-83A1-F6EECF244321}">
                <p14:modId xmlns:p14="http://schemas.microsoft.com/office/powerpoint/2010/main" val="2922970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24" imgW="451" imgH="450" progId="TCLayout.ActiveDocument.1">
                  <p:embed/>
                </p:oleObj>
              </mc:Choice>
              <mc:Fallback>
                <p:oleObj name="Diapositiva think-cell" r:id="rId24" imgW="451" imgH="450"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8" name="Segnaposto numero diapositiva 7">
            <a:extLst>
              <a:ext uri="{FF2B5EF4-FFF2-40B4-BE49-F238E27FC236}">
                <a16:creationId xmlns:a16="http://schemas.microsoft.com/office/drawing/2014/main" id="{90F2147C-DDBF-4431-95AC-650CCE32FC7A}"/>
              </a:ext>
            </a:extLst>
          </p:cNvPr>
          <p:cNvSpPr>
            <a:spLocks noGrp="1"/>
          </p:cNvSpPr>
          <p:nvPr>
            <p:ph type="sldNum" sz="quarter" idx="4"/>
          </p:nvPr>
        </p:nvSpPr>
        <p:spPr>
          <a:xfrm>
            <a:off x="11091210" y="6189345"/>
            <a:ext cx="600974" cy="395243"/>
          </a:xfrm>
          <a:prstGeom prst="rect">
            <a:avLst/>
          </a:prstGeom>
        </p:spPr>
        <p:txBody>
          <a:bodyPr vert="horz" lIns="0" tIns="0" rIns="0" bIns="0" rtlCol="0" anchor="ctr"/>
          <a:lstStyle>
            <a:lvl1pPr>
              <a:defRPr lang="en-GB" sz="1200" smtClean="0">
                <a:solidFill>
                  <a:schemeClr val="tx1"/>
                </a:solidFill>
              </a:defRPr>
            </a:lvl1pPr>
          </a:lstStyle>
          <a:p>
            <a:pPr algn="ctr" rtl="0"/>
            <a:fld id="{817179DE-9BF3-494C-804F-0C7C90AC8700}" type="slidenum">
              <a:rPr lang="it-IT" noProof="0" smtClean="0"/>
              <a:pPr algn="ctr"/>
              <a:t>‹N›</a:t>
            </a:fld>
            <a:endParaRPr lang="it-IT" noProof="0"/>
          </a:p>
        </p:txBody>
      </p:sp>
      <p:sp>
        <p:nvSpPr>
          <p:cNvPr id="2" name="Segnaposto titolo 1">
            <a:extLst>
              <a:ext uri="{FF2B5EF4-FFF2-40B4-BE49-F238E27FC236}">
                <a16:creationId xmlns:a16="http://schemas.microsoft.com/office/drawing/2014/main" id="{224C3681-351A-40D9-8C08-632E98237C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it-IT" noProof="0"/>
              <a:t>Fare clic per modificare lo stile del titolo</a:t>
            </a:r>
          </a:p>
        </p:txBody>
      </p:sp>
      <p:sp>
        <p:nvSpPr>
          <p:cNvPr id="3" name="Segnaposto testo 2">
            <a:extLst>
              <a:ext uri="{FF2B5EF4-FFF2-40B4-BE49-F238E27FC236}">
                <a16:creationId xmlns:a16="http://schemas.microsoft.com/office/drawing/2014/main" id="{607CEF16-92A3-4A77-B95D-A9DB52319F3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it-IT" noProof="0"/>
              <a:t>Fare clic per modificare gli stili del testo dello schema</a:t>
            </a:r>
          </a:p>
          <a:p>
            <a:pPr lvl="1" rtl="0"/>
            <a:r>
              <a:rPr lang="it-IT" noProof="0"/>
              <a:t>Secondo livello</a:t>
            </a:r>
          </a:p>
          <a:p>
            <a:pPr lvl="2" rtl="0"/>
            <a:r>
              <a:rPr lang="it-IT" noProof="0"/>
              <a:t>Terzo livello</a:t>
            </a:r>
          </a:p>
          <a:p>
            <a:pPr lvl="3" rtl="0"/>
            <a:r>
              <a:rPr lang="it-IT" noProof="0"/>
              <a:t>Quarto livello</a:t>
            </a:r>
          </a:p>
          <a:p>
            <a:pPr lvl="4" rtl="0"/>
            <a:r>
              <a:rPr lang="it-IT" noProof="0"/>
              <a:t>Quinto livello</a:t>
            </a:r>
          </a:p>
        </p:txBody>
      </p:sp>
      <p:pic>
        <p:nvPicPr>
          <p:cNvPr id="6" name="Immagine 5" descr="Immagine che contiene cavallo, Carattere, testo, logo&#10;&#10;Descrizione generata automaticamente">
            <a:extLst>
              <a:ext uri="{FF2B5EF4-FFF2-40B4-BE49-F238E27FC236}">
                <a16:creationId xmlns:a16="http://schemas.microsoft.com/office/drawing/2014/main" id="{E98E8D3D-9D19-8354-C33E-01E991D7ABC4}"/>
              </a:ext>
            </a:extLst>
          </p:cNvPr>
          <p:cNvPicPr>
            <a:picLocks noChangeAspect="1"/>
          </p:cNvPicPr>
          <p:nvPr userDrawn="1"/>
        </p:nvPicPr>
        <p:blipFill>
          <a:blip r:embed="rId26"/>
          <a:stretch>
            <a:fillRect/>
          </a:stretch>
        </p:blipFill>
        <p:spPr>
          <a:xfrm>
            <a:off x="10972800" y="43709"/>
            <a:ext cx="1189185" cy="931685"/>
          </a:xfrm>
          <a:prstGeom prst="rect">
            <a:avLst/>
          </a:prstGeom>
        </p:spPr>
      </p:pic>
    </p:spTree>
    <p:extLst>
      <p:ext uri="{BB962C8B-B14F-4D97-AF65-F5344CB8AC3E}">
        <p14:creationId xmlns:p14="http://schemas.microsoft.com/office/powerpoint/2010/main" val="4096770716"/>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70" r:id="rId10"/>
    <p:sldLayoutId id="2147483669" r:id="rId11"/>
    <p:sldLayoutId id="2147483655" r:id="rId12"/>
    <p:sldLayoutId id="2147483671" r:id="rId13"/>
    <p:sldLayoutId id="2147483672" r:id="rId14"/>
    <p:sldLayoutId id="2147483673" r:id="rId15"/>
    <p:sldLayoutId id="2147483674" r:id="rId16"/>
    <p:sldLayoutId id="2147483675" r:id="rId17"/>
    <p:sldLayoutId id="2147483676" r:id="rId18"/>
    <p:sldLayoutId id="2147483677" r:id="rId19"/>
    <p:sldLayoutId id="2147483678" r:id="rId20"/>
    <p:sldLayoutId id="2147483679" r:id="rId2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png"/><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31.png"/><Relationship Id="rId5" Type="http://schemas.openxmlformats.org/officeDocument/2006/relationships/image" Target="../media/image3.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notesSlide" Target="../notesSlides/notesSlide9.xml"/><Relationship Id="rId7" Type="http://schemas.openxmlformats.org/officeDocument/2006/relationships/diagramData" Target="../diagrams/data1.xml"/><Relationship Id="rId2" Type="http://schemas.openxmlformats.org/officeDocument/2006/relationships/slideLayout" Target="../slideLayouts/slideLayout5.xml"/><Relationship Id="rId1" Type="http://schemas.openxmlformats.org/officeDocument/2006/relationships/tags" Target="../tags/tag11.xml"/><Relationship Id="rId6" Type="http://schemas.openxmlformats.org/officeDocument/2006/relationships/image" Target="../media/image32.jpg"/><Relationship Id="rId11" Type="http://schemas.microsoft.com/office/2007/relationships/diagramDrawing" Target="../diagrams/drawing1.xml"/><Relationship Id="rId5" Type="http://schemas.openxmlformats.org/officeDocument/2006/relationships/image" Target="../media/image3.emf"/><Relationship Id="rId10" Type="http://schemas.openxmlformats.org/officeDocument/2006/relationships/diagramColors" Target="../diagrams/colors1.xml"/><Relationship Id="rId4" Type="http://schemas.openxmlformats.org/officeDocument/2006/relationships/oleObject" Target="../embeddings/oleObject7.bin"/><Relationship Id="rId9"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image" Target="../media/image33.png"/><Relationship Id="rId1" Type="http://schemas.openxmlformats.org/officeDocument/2006/relationships/slideLayout" Target="../slideLayouts/slideLayout5.xml"/><Relationship Id="rId6" Type="http://schemas.openxmlformats.org/officeDocument/2006/relationships/image" Target="../media/image37.svg"/><Relationship Id="rId5" Type="http://schemas.openxmlformats.org/officeDocument/2006/relationships/image" Target="../media/image36.pn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10.xml"/><Relationship Id="rId7" Type="http://schemas.openxmlformats.org/officeDocument/2006/relationships/image" Target="../media/image41.svg"/><Relationship Id="rId2" Type="http://schemas.openxmlformats.org/officeDocument/2006/relationships/slideLayout" Target="../slideLayouts/slideLayout9.xml"/><Relationship Id="rId1" Type="http://schemas.openxmlformats.org/officeDocument/2006/relationships/tags" Target="../tags/tag12.xml"/><Relationship Id="rId6" Type="http://schemas.openxmlformats.org/officeDocument/2006/relationships/image" Target="../media/image40.png"/><Relationship Id="rId5" Type="http://schemas.openxmlformats.org/officeDocument/2006/relationships/image" Target="../media/image3.emf"/><Relationship Id="rId4" Type="http://schemas.openxmlformats.org/officeDocument/2006/relationships/oleObject" Target="../embeddings/oleObject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44.jpeg"/><Relationship Id="rId2" Type="http://schemas.openxmlformats.org/officeDocument/2006/relationships/slideLayout" Target="../slideLayouts/slideLayout11.xml"/><Relationship Id="rId1" Type="http://schemas.openxmlformats.org/officeDocument/2006/relationships/tags" Target="../tags/tag13.xml"/><Relationship Id="rId6" Type="http://schemas.openxmlformats.org/officeDocument/2006/relationships/image" Target="../media/image43.jpeg"/><Relationship Id="rId5" Type="http://schemas.openxmlformats.org/officeDocument/2006/relationships/image" Target="../media/image3.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14.xml"/><Relationship Id="rId6" Type="http://schemas.openxmlformats.org/officeDocument/2006/relationships/image" Target="../media/image45.jpeg"/><Relationship Id="rId5" Type="http://schemas.openxmlformats.org/officeDocument/2006/relationships/image" Target="../media/image3.emf"/><Relationship Id="rId4" Type="http://schemas.openxmlformats.org/officeDocument/2006/relationships/oleObject" Target="../embeddings/oleObject8.bin"/></Relationships>
</file>

<file path=ppt/slides/_rels/slide17.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notesSlide" Target="../notesSlides/notesSlide13.xml"/><Relationship Id="rId7" Type="http://schemas.openxmlformats.org/officeDocument/2006/relationships/image" Target="../media/image17.png"/><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image" Target="../media/image46.jpe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7.bin"/><Relationship Id="rId9" Type="http://schemas.openxmlformats.org/officeDocument/2006/relationships/image" Target="../media/image47.png"/></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51.png"/><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3.emf"/></Relationships>
</file>

<file path=ppt/slides/_rels/slide19.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image" Target="../media/image52.emf"/><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18" Type="http://schemas.openxmlformats.org/officeDocument/2006/relationships/image" Target="../media/image20.sv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svg"/><Relationship Id="rId17" Type="http://schemas.openxmlformats.org/officeDocument/2006/relationships/image" Target="../media/image19.png"/><Relationship Id="rId2" Type="http://schemas.openxmlformats.org/officeDocument/2006/relationships/notesSlide" Target="../notesSlides/notesSlide2.xml"/><Relationship Id="rId16" Type="http://schemas.openxmlformats.org/officeDocument/2006/relationships/image" Target="../media/image18.svg"/><Relationship Id="rId1" Type="http://schemas.openxmlformats.org/officeDocument/2006/relationships/slideLayout" Target="../slideLayouts/slideLayout21.xml"/><Relationship Id="rId6" Type="http://schemas.openxmlformats.org/officeDocument/2006/relationships/image" Target="../media/image8.sv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svg"/><Relationship Id="rId4" Type="http://schemas.openxmlformats.org/officeDocument/2006/relationships/image" Target="../media/image6.svg"/><Relationship Id="rId9" Type="http://schemas.openxmlformats.org/officeDocument/2006/relationships/image" Target="../media/image11.png"/><Relationship Id="rId14" Type="http://schemas.openxmlformats.org/officeDocument/2006/relationships/image" Target="../media/image16.svg"/></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56.png"/><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3.emf"/></Relationships>
</file>

<file path=ppt/slides/_rels/slide21.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notesSlide" Target="../notesSlides/notesSlide14.xml"/><Relationship Id="rId7" Type="http://schemas.openxmlformats.org/officeDocument/2006/relationships/image" Target="../media/image9.png"/><Relationship Id="rId2" Type="http://schemas.openxmlformats.org/officeDocument/2006/relationships/slideLayout" Target="../slideLayouts/slideLayout5.xml"/><Relationship Id="rId1" Type="http://schemas.openxmlformats.org/officeDocument/2006/relationships/tags" Target="../tags/tag18.xml"/><Relationship Id="rId6" Type="http://schemas.openxmlformats.org/officeDocument/2006/relationships/image" Target="../media/image57.jp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13.bin"/><Relationship Id="rId9" Type="http://schemas.openxmlformats.org/officeDocument/2006/relationships/image" Target="../media/image47.png"/></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60.png"/><Relationship Id="rId2" Type="http://schemas.openxmlformats.org/officeDocument/2006/relationships/slideLayout" Target="../slideLayouts/slideLayout5.xml"/><Relationship Id="rId1" Type="http://schemas.openxmlformats.org/officeDocument/2006/relationships/tags" Target="../tags/tag19.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3.emf"/></Relationships>
</file>

<file path=ppt/slides/_rels/slide23.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notesSlide" Target="../notesSlides/notesSlide15.xml"/><Relationship Id="rId7" Type="http://schemas.openxmlformats.org/officeDocument/2006/relationships/image" Target="../media/image7.png"/><Relationship Id="rId2" Type="http://schemas.openxmlformats.org/officeDocument/2006/relationships/slideLayout" Target="../slideLayouts/slideLayout5.xml"/><Relationship Id="rId1" Type="http://schemas.openxmlformats.org/officeDocument/2006/relationships/tags" Target="../tags/tag20.xml"/><Relationship Id="rId6" Type="http://schemas.openxmlformats.org/officeDocument/2006/relationships/image" Target="../media/image61.jp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15.bin"/><Relationship Id="rId9" Type="http://schemas.openxmlformats.org/officeDocument/2006/relationships/image" Target="../media/image47.png"/></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64.png"/><Relationship Id="rId2" Type="http://schemas.openxmlformats.org/officeDocument/2006/relationships/slideLayout" Target="../slideLayouts/slideLayout5.xml"/><Relationship Id="rId1" Type="http://schemas.openxmlformats.org/officeDocument/2006/relationships/tags" Target="../tags/tag21.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3.emf"/></Relationships>
</file>

<file path=ppt/slides/_rels/slide2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notesSlide" Target="../notesSlides/notesSlide16.xml"/><Relationship Id="rId7" Type="http://schemas.openxmlformats.org/officeDocument/2006/relationships/image" Target="../media/image15.png"/><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image" Target="../media/image65.jp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17.bin"/><Relationship Id="rId9" Type="http://schemas.openxmlformats.org/officeDocument/2006/relationships/image" Target="../media/image47.png"/></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5.xml"/><Relationship Id="rId1" Type="http://schemas.openxmlformats.org/officeDocument/2006/relationships/tags" Target="../tags/tag23.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3.emf"/></Relationships>
</file>

<file path=ppt/slides/_rels/slide27.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notesSlide" Target="../notesSlides/notesSlide17.xml"/><Relationship Id="rId7" Type="http://schemas.openxmlformats.org/officeDocument/2006/relationships/image" Target="../media/image19.png"/><Relationship Id="rId2" Type="http://schemas.openxmlformats.org/officeDocument/2006/relationships/slideLayout" Target="../slideLayouts/slideLayout5.xml"/><Relationship Id="rId1" Type="http://schemas.openxmlformats.org/officeDocument/2006/relationships/tags" Target="../tags/tag24.xml"/><Relationship Id="rId6" Type="http://schemas.openxmlformats.org/officeDocument/2006/relationships/image" Target="../media/image68.jp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19.bin"/><Relationship Id="rId9" Type="http://schemas.openxmlformats.org/officeDocument/2006/relationships/image" Target="../media/image47.png"/></Relationships>
</file>

<file path=ppt/slides/_rels/slide28.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18.xml"/><Relationship Id="rId7" Type="http://schemas.openxmlformats.org/officeDocument/2006/relationships/image" Target="../media/image70.png"/><Relationship Id="rId2" Type="http://schemas.openxmlformats.org/officeDocument/2006/relationships/slideLayout" Target="../slideLayouts/slideLayout5.xml"/><Relationship Id="rId1" Type="http://schemas.openxmlformats.org/officeDocument/2006/relationships/tags" Target="../tags/tag25.xml"/><Relationship Id="rId6" Type="http://schemas.openxmlformats.org/officeDocument/2006/relationships/image" Target="../media/image69.png"/><Relationship Id="rId5" Type="http://schemas.openxmlformats.org/officeDocument/2006/relationships/image" Target="../media/image3.emf"/><Relationship Id="rId10" Type="http://schemas.openxmlformats.org/officeDocument/2006/relationships/image" Target="../media/image73.png"/><Relationship Id="rId4" Type="http://schemas.openxmlformats.org/officeDocument/2006/relationships/oleObject" Target="../embeddings/oleObject20.bin"/><Relationship Id="rId9" Type="http://schemas.openxmlformats.org/officeDocument/2006/relationships/image" Target="../media/image72.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75.jpg"/><Relationship Id="rId2" Type="http://schemas.openxmlformats.org/officeDocument/2006/relationships/slideLayout" Target="../slideLayouts/slideLayout11.xml"/><Relationship Id="rId1" Type="http://schemas.openxmlformats.org/officeDocument/2006/relationships/tags" Target="../tags/tag26.xml"/><Relationship Id="rId6" Type="http://schemas.openxmlformats.org/officeDocument/2006/relationships/image" Target="../media/image74.jpg"/><Relationship Id="rId5" Type="http://schemas.openxmlformats.org/officeDocument/2006/relationships/image" Target="../media/image3.emf"/><Relationship Id="rId4" Type="http://schemas.openxmlformats.org/officeDocument/2006/relationships/oleObject" Target="../embeddings/oleObject2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2.jpeg"/><Relationship Id="rId2" Type="http://schemas.openxmlformats.org/officeDocument/2006/relationships/slideLayout" Target="../slideLayouts/slideLayout11.xml"/><Relationship Id="rId1" Type="http://schemas.openxmlformats.org/officeDocument/2006/relationships/tags" Target="../tags/tag4.xml"/><Relationship Id="rId6" Type="http://schemas.openxmlformats.org/officeDocument/2006/relationships/image" Target="../media/image21.jpeg"/><Relationship Id="rId5" Type="http://schemas.openxmlformats.org/officeDocument/2006/relationships/image" Target="../media/image3.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notesSlide" Target="../notesSlides/notesSlide20.xml"/><Relationship Id="rId7" Type="http://schemas.openxmlformats.org/officeDocument/2006/relationships/image" Target="../media/image77.png"/><Relationship Id="rId2" Type="http://schemas.openxmlformats.org/officeDocument/2006/relationships/slideLayout" Target="../slideLayouts/slideLayout5.xml"/><Relationship Id="rId1" Type="http://schemas.openxmlformats.org/officeDocument/2006/relationships/tags" Target="../tags/tag27.xml"/><Relationship Id="rId6" Type="http://schemas.openxmlformats.org/officeDocument/2006/relationships/image" Target="../media/image76.jpeg"/><Relationship Id="rId5" Type="http://schemas.openxmlformats.org/officeDocument/2006/relationships/image" Target="../media/image3.emf"/><Relationship Id="rId4" Type="http://schemas.openxmlformats.org/officeDocument/2006/relationships/oleObject" Target="../embeddings/oleObject22.bin"/></Relationships>
</file>

<file path=ppt/slides/_rels/slide31.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notesSlide" Target="../notesSlides/notesSlide21.xml"/><Relationship Id="rId7" Type="http://schemas.openxmlformats.org/officeDocument/2006/relationships/image" Target="../media/image77.png"/><Relationship Id="rId2" Type="http://schemas.openxmlformats.org/officeDocument/2006/relationships/slideLayout" Target="../slideLayouts/slideLayout5.xml"/><Relationship Id="rId1" Type="http://schemas.openxmlformats.org/officeDocument/2006/relationships/tags" Target="../tags/tag28.xml"/><Relationship Id="rId6" Type="http://schemas.openxmlformats.org/officeDocument/2006/relationships/image" Target="../media/image79.jpg"/><Relationship Id="rId5" Type="http://schemas.openxmlformats.org/officeDocument/2006/relationships/image" Target="../media/image3.emf"/><Relationship Id="rId4" Type="http://schemas.openxmlformats.org/officeDocument/2006/relationships/oleObject" Target="../embeddings/oleObject2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xml"/><Relationship Id="rId1" Type="http://schemas.openxmlformats.org/officeDocument/2006/relationships/tags" Target="../tags/tag29.xml"/><Relationship Id="rId6" Type="http://schemas.openxmlformats.org/officeDocument/2006/relationships/image" Target="../media/image80.jpg"/><Relationship Id="rId5" Type="http://schemas.openxmlformats.org/officeDocument/2006/relationships/image" Target="../media/image3.emf"/><Relationship Id="rId4" Type="http://schemas.openxmlformats.org/officeDocument/2006/relationships/oleObject" Target="../embeddings/oleObject24.bin"/></Relationships>
</file>

<file path=ppt/slides/_rels/slide33.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notesSlide" Target="../notesSlides/notesSlide23.xml"/><Relationship Id="rId7" Type="http://schemas.openxmlformats.org/officeDocument/2006/relationships/image" Target="../media/image77.png"/><Relationship Id="rId2" Type="http://schemas.openxmlformats.org/officeDocument/2006/relationships/slideLayout" Target="../slideLayouts/slideLayout5.xml"/><Relationship Id="rId1" Type="http://schemas.openxmlformats.org/officeDocument/2006/relationships/tags" Target="../tags/tag30.xml"/><Relationship Id="rId6" Type="http://schemas.openxmlformats.org/officeDocument/2006/relationships/image" Target="../media/image81.jpg"/><Relationship Id="rId5" Type="http://schemas.openxmlformats.org/officeDocument/2006/relationships/image" Target="../media/image3.emf"/><Relationship Id="rId4" Type="http://schemas.openxmlformats.org/officeDocument/2006/relationships/oleObject" Target="../embeddings/oleObject25.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83.jpg"/><Relationship Id="rId2" Type="http://schemas.openxmlformats.org/officeDocument/2006/relationships/slideLayout" Target="../slideLayouts/slideLayout11.xml"/><Relationship Id="rId1" Type="http://schemas.openxmlformats.org/officeDocument/2006/relationships/tags" Target="../tags/tag31.xml"/><Relationship Id="rId6" Type="http://schemas.openxmlformats.org/officeDocument/2006/relationships/image" Target="../media/image82.jpg"/><Relationship Id="rId5" Type="http://schemas.openxmlformats.org/officeDocument/2006/relationships/image" Target="../media/image3.emf"/><Relationship Id="rId4" Type="http://schemas.openxmlformats.org/officeDocument/2006/relationships/oleObject" Target="../embeddings/oleObject26.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xml"/><Relationship Id="rId1" Type="http://schemas.openxmlformats.org/officeDocument/2006/relationships/tags" Target="../tags/tag32.xml"/><Relationship Id="rId6" Type="http://schemas.openxmlformats.org/officeDocument/2006/relationships/image" Target="../media/image84.jpg"/><Relationship Id="rId5" Type="http://schemas.openxmlformats.org/officeDocument/2006/relationships/image" Target="../media/image3.emf"/><Relationship Id="rId4" Type="http://schemas.openxmlformats.org/officeDocument/2006/relationships/oleObject" Target="../embeddings/oleObject27.bin"/></Relationships>
</file>

<file path=ppt/slides/_rels/slide36.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notesSlide" Target="../notesSlides/notesSlide26.xml"/><Relationship Id="rId7" Type="http://schemas.openxmlformats.org/officeDocument/2006/relationships/image" Target="../media/image86.png"/><Relationship Id="rId2" Type="http://schemas.openxmlformats.org/officeDocument/2006/relationships/slideLayout" Target="../slideLayouts/slideLayout5.xml"/><Relationship Id="rId1" Type="http://schemas.openxmlformats.org/officeDocument/2006/relationships/tags" Target="../tags/tag33.xml"/><Relationship Id="rId6" Type="http://schemas.openxmlformats.org/officeDocument/2006/relationships/image" Target="../media/image85.jpg"/><Relationship Id="rId5" Type="http://schemas.openxmlformats.org/officeDocument/2006/relationships/image" Target="../media/image3.emf"/><Relationship Id="rId4" Type="http://schemas.openxmlformats.org/officeDocument/2006/relationships/oleObject" Target="../embeddings/oleObject28.bin"/></Relationships>
</file>

<file path=ppt/slides/_rels/slide37.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notesSlide" Target="../notesSlides/notesSlide27.xml"/><Relationship Id="rId7" Type="http://schemas.openxmlformats.org/officeDocument/2006/relationships/image" Target="../media/image86.png"/><Relationship Id="rId2" Type="http://schemas.openxmlformats.org/officeDocument/2006/relationships/slideLayout" Target="../slideLayouts/slideLayout5.xml"/><Relationship Id="rId1" Type="http://schemas.openxmlformats.org/officeDocument/2006/relationships/tags" Target="../tags/tag34.xml"/><Relationship Id="rId6" Type="http://schemas.openxmlformats.org/officeDocument/2006/relationships/image" Target="../media/image88.jpg"/><Relationship Id="rId5" Type="http://schemas.openxmlformats.org/officeDocument/2006/relationships/image" Target="../media/image3.emf"/><Relationship Id="rId4" Type="http://schemas.openxmlformats.org/officeDocument/2006/relationships/oleObject" Target="../embeddings/oleObject29.bin"/></Relationships>
</file>

<file path=ppt/slides/_rels/slide38.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notesSlide" Target="../notesSlides/notesSlide28.xml"/><Relationship Id="rId7" Type="http://schemas.openxmlformats.org/officeDocument/2006/relationships/image" Target="../media/image86.png"/><Relationship Id="rId2" Type="http://schemas.openxmlformats.org/officeDocument/2006/relationships/slideLayout" Target="../slideLayouts/slideLayout5.xml"/><Relationship Id="rId1" Type="http://schemas.openxmlformats.org/officeDocument/2006/relationships/tags" Target="../tags/tag35.xml"/><Relationship Id="rId6" Type="http://schemas.openxmlformats.org/officeDocument/2006/relationships/image" Target="../media/image89.jpg"/><Relationship Id="rId5" Type="http://schemas.openxmlformats.org/officeDocument/2006/relationships/image" Target="../media/image3.emf"/><Relationship Id="rId4" Type="http://schemas.openxmlformats.org/officeDocument/2006/relationships/oleObject" Target="../embeddings/oleObject30.bin"/></Relationships>
</file>

<file path=ppt/slides/_rels/slide39.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notesSlide" Target="../notesSlides/notesSlide29.xml"/><Relationship Id="rId7" Type="http://schemas.openxmlformats.org/officeDocument/2006/relationships/image" Target="../media/image86.png"/><Relationship Id="rId2" Type="http://schemas.openxmlformats.org/officeDocument/2006/relationships/slideLayout" Target="../slideLayouts/slideLayout5.xml"/><Relationship Id="rId1" Type="http://schemas.openxmlformats.org/officeDocument/2006/relationships/tags" Target="../tags/tag36.xml"/><Relationship Id="rId6" Type="http://schemas.openxmlformats.org/officeDocument/2006/relationships/image" Target="../media/image90.jpg"/><Relationship Id="rId5" Type="http://schemas.openxmlformats.org/officeDocument/2006/relationships/image" Target="../media/image3.emf"/><Relationship Id="rId4" Type="http://schemas.openxmlformats.org/officeDocument/2006/relationships/oleObject" Target="../embeddings/oleObject3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23.jpg"/><Relationship Id="rId5" Type="http://schemas.openxmlformats.org/officeDocument/2006/relationships/image" Target="../media/image3.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tags" Target="../tags/tag37.xml"/><Relationship Id="rId6" Type="http://schemas.openxmlformats.org/officeDocument/2006/relationships/image" Target="../media/image91.jpg"/><Relationship Id="rId5" Type="http://schemas.openxmlformats.org/officeDocument/2006/relationships/image" Target="../media/image3.emf"/><Relationship Id="rId4" Type="http://schemas.openxmlformats.org/officeDocument/2006/relationships/oleObject" Target="../embeddings/oleObject32.bin"/></Relationships>
</file>

<file path=ppt/slides/_rels/slide41.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18" Type="http://schemas.openxmlformats.org/officeDocument/2006/relationships/image" Target="../media/image20.sv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svg"/><Relationship Id="rId17" Type="http://schemas.openxmlformats.org/officeDocument/2006/relationships/image" Target="../media/image19.png"/><Relationship Id="rId2" Type="http://schemas.openxmlformats.org/officeDocument/2006/relationships/notesSlide" Target="../notesSlides/notesSlide31.xml"/><Relationship Id="rId16" Type="http://schemas.openxmlformats.org/officeDocument/2006/relationships/image" Target="../media/image18.svg"/><Relationship Id="rId1" Type="http://schemas.openxmlformats.org/officeDocument/2006/relationships/slideLayout" Target="../slideLayouts/slideLayout21.xml"/><Relationship Id="rId6" Type="http://schemas.openxmlformats.org/officeDocument/2006/relationships/image" Target="../media/image8.sv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svg"/><Relationship Id="rId4" Type="http://schemas.openxmlformats.org/officeDocument/2006/relationships/image" Target="../media/image6.svg"/><Relationship Id="rId9" Type="http://schemas.openxmlformats.org/officeDocument/2006/relationships/image" Target="../media/image11.png"/><Relationship Id="rId14" Type="http://schemas.openxmlformats.org/officeDocument/2006/relationships/image" Target="../media/image16.svg"/></Relationships>
</file>

<file path=ppt/slides/_rels/slide42.xml.rels><?xml version="1.0" encoding="UTF-8" standalone="yes"?>
<Relationships xmlns="http://schemas.openxmlformats.org/package/2006/relationships"><Relationship Id="rId8" Type="http://schemas.openxmlformats.org/officeDocument/2006/relationships/hyperlink" Target="mailto:stefania.morsanuto@unipegaso.it" TargetMode="External"/><Relationship Id="rId3" Type="http://schemas.openxmlformats.org/officeDocument/2006/relationships/notesSlide" Target="../notesSlides/notesSlide32.xml"/><Relationship Id="rId7" Type="http://schemas.microsoft.com/office/2007/relationships/hdphoto" Target="../media/hdphoto1.wdp"/><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image" Target="../media/image92.png"/><Relationship Id="rId5" Type="http://schemas.openxmlformats.org/officeDocument/2006/relationships/image" Target="../media/image3.emf"/><Relationship Id="rId10" Type="http://schemas.openxmlformats.org/officeDocument/2006/relationships/image" Target="../media/image2.png"/><Relationship Id="rId4" Type="http://schemas.openxmlformats.org/officeDocument/2006/relationships/oleObject" Target="../embeddings/oleObject33.bin"/><Relationship Id="rId9" Type="http://schemas.openxmlformats.org/officeDocument/2006/relationships/hyperlink" Target="https://www.ojs.gsdjournal.it/"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94.jpeg"/><Relationship Id="rId2" Type="http://schemas.openxmlformats.org/officeDocument/2006/relationships/slideLayout" Target="../slideLayouts/slideLayout11.xml"/><Relationship Id="rId1" Type="http://schemas.openxmlformats.org/officeDocument/2006/relationships/tags" Target="../tags/tag39.xml"/><Relationship Id="rId6" Type="http://schemas.openxmlformats.org/officeDocument/2006/relationships/image" Target="../media/image93.jpeg"/><Relationship Id="rId5" Type="http://schemas.openxmlformats.org/officeDocument/2006/relationships/image" Target="../media/image3.emf"/><Relationship Id="rId4" Type="http://schemas.openxmlformats.org/officeDocument/2006/relationships/oleObject" Target="../embeddings/oleObject34.bin"/></Relationships>
</file>

<file path=ppt/slides/_rels/slide45.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notesSlide" Target="../notesSlides/notesSlide34.xml"/><Relationship Id="rId7" Type="http://schemas.microsoft.com/office/2007/relationships/hdphoto" Target="../media/hdphoto2.wdp"/><Relationship Id="rId2" Type="http://schemas.openxmlformats.org/officeDocument/2006/relationships/slideLayout" Target="../slideLayouts/slideLayout8.xml"/><Relationship Id="rId1" Type="http://schemas.openxmlformats.org/officeDocument/2006/relationships/tags" Target="../tags/tag40.xml"/><Relationship Id="rId6" Type="http://schemas.openxmlformats.org/officeDocument/2006/relationships/image" Target="../media/image95.png"/><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97.svg"/></Relationships>
</file>

<file path=ppt/slides/_rels/slide46.xml.rels><?xml version="1.0" encoding="UTF-8" standalone="yes"?>
<Relationships xmlns="http://schemas.openxmlformats.org/package/2006/relationships"><Relationship Id="rId8" Type="http://schemas.openxmlformats.org/officeDocument/2006/relationships/image" Target="../media/image97.svg"/><Relationship Id="rId3" Type="http://schemas.openxmlformats.org/officeDocument/2006/relationships/notesSlide" Target="../notesSlides/notesSlide35.xml"/><Relationship Id="rId7" Type="http://schemas.openxmlformats.org/officeDocument/2006/relationships/image" Target="../media/image96.png"/><Relationship Id="rId2" Type="http://schemas.openxmlformats.org/officeDocument/2006/relationships/slideLayout" Target="../slideLayouts/slideLayout8.xml"/><Relationship Id="rId1" Type="http://schemas.openxmlformats.org/officeDocument/2006/relationships/tags" Target="../tags/tag41.xml"/><Relationship Id="rId6" Type="http://schemas.openxmlformats.org/officeDocument/2006/relationships/image" Target="../media/image98.jpg"/><Relationship Id="rId5" Type="http://schemas.openxmlformats.org/officeDocument/2006/relationships/image" Target="../media/image3.emf"/><Relationship Id="rId4" Type="http://schemas.openxmlformats.org/officeDocument/2006/relationships/oleObject" Target="../embeddings/oleObject36.bin"/></Relationships>
</file>

<file path=ppt/slides/_rels/slide47.xml.rels><?xml version="1.0" encoding="UTF-8" standalone="yes"?>
<Relationships xmlns="http://schemas.openxmlformats.org/package/2006/relationships"><Relationship Id="rId8" Type="http://schemas.openxmlformats.org/officeDocument/2006/relationships/image" Target="../media/image78.svg"/><Relationship Id="rId13" Type="http://schemas.openxmlformats.org/officeDocument/2006/relationships/image" Target="../media/image103.png"/><Relationship Id="rId3" Type="http://schemas.openxmlformats.org/officeDocument/2006/relationships/notesSlide" Target="../notesSlides/notesSlide36.xml"/><Relationship Id="rId7" Type="http://schemas.openxmlformats.org/officeDocument/2006/relationships/image" Target="../media/image77.png"/><Relationship Id="rId12" Type="http://schemas.openxmlformats.org/officeDocument/2006/relationships/image" Target="../media/image102.svg"/><Relationship Id="rId2" Type="http://schemas.openxmlformats.org/officeDocument/2006/relationships/slideLayout" Target="../slideLayouts/slideLayout5.xml"/><Relationship Id="rId16" Type="http://schemas.openxmlformats.org/officeDocument/2006/relationships/image" Target="../media/image106.svg"/><Relationship Id="rId1" Type="http://schemas.openxmlformats.org/officeDocument/2006/relationships/tags" Target="../tags/tag42.xml"/><Relationship Id="rId6" Type="http://schemas.openxmlformats.org/officeDocument/2006/relationships/image" Target="../media/image76.jpeg"/><Relationship Id="rId11" Type="http://schemas.openxmlformats.org/officeDocument/2006/relationships/image" Target="../media/image101.png"/><Relationship Id="rId5" Type="http://schemas.openxmlformats.org/officeDocument/2006/relationships/image" Target="../media/image3.emf"/><Relationship Id="rId15" Type="http://schemas.openxmlformats.org/officeDocument/2006/relationships/image" Target="../media/image105.png"/><Relationship Id="rId10" Type="http://schemas.openxmlformats.org/officeDocument/2006/relationships/image" Target="../media/image100.svg"/><Relationship Id="rId4" Type="http://schemas.openxmlformats.org/officeDocument/2006/relationships/oleObject" Target="../embeddings/oleObject37.bin"/><Relationship Id="rId9" Type="http://schemas.openxmlformats.org/officeDocument/2006/relationships/image" Target="../media/image99.png"/><Relationship Id="rId14" Type="http://schemas.openxmlformats.org/officeDocument/2006/relationships/image" Target="../media/image104.sv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5.jpeg"/><Relationship Id="rId2" Type="http://schemas.openxmlformats.org/officeDocument/2006/relationships/slideLayout" Target="../slideLayouts/slideLayout11.xml"/><Relationship Id="rId1" Type="http://schemas.openxmlformats.org/officeDocument/2006/relationships/tags" Target="../tags/tag6.xml"/><Relationship Id="rId6" Type="http://schemas.openxmlformats.org/officeDocument/2006/relationships/image" Target="../media/image24.jpeg"/><Relationship Id="rId5" Type="http://schemas.openxmlformats.org/officeDocument/2006/relationships/image" Target="../media/image3.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microsoft.com/office/2007/relationships/media" Target="../media/media1.mp4"/><Relationship Id="rId7" Type="http://schemas.openxmlformats.org/officeDocument/2006/relationships/image" Target="../media/image26.png"/><Relationship Id="rId2" Type="http://schemas.openxmlformats.org/officeDocument/2006/relationships/video" Target="NULL" TargetMode="External"/><Relationship Id="rId1" Type="http://schemas.openxmlformats.org/officeDocument/2006/relationships/tags" Target="../tags/tag7.x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8.xml"/><Relationship Id="rId6" Type="http://schemas.openxmlformats.org/officeDocument/2006/relationships/image" Target="../media/image27.jpg"/><Relationship Id="rId5" Type="http://schemas.openxmlformats.org/officeDocument/2006/relationships/image" Target="../media/image3.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30.jpg"/><Relationship Id="rId5" Type="http://schemas.openxmlformats.org/officeDocument/2006/relationships/image" Target="../media/image3.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85DF1BF9-F6FA-235B-7759-DDC1F9B8920A}"/>
              </a:ext>
            </a:extLst>
          </p:cNvPr>
          <p:cNvGraphicFramePr>
            <a:graphicFrameLocks noChangeAspect="1"/>
          </p:cNvGraphicFramePr>
          <p:nvPr>
            <p:custDataLst>
              <p:tags r:id="rId1"/>
            </p:custDataLst>
            <p:extLst>
              <p:ext uri="{D42A27DB-BD31-4B8C-83A1-F6EECF244321}">
                <p14:modId xmlns:p14="http://schemas.microsoft.com/office/powerpoint/2010/main" val="1195852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Segnaposto immagine 19" descr="gruppo di studenti che studiano a un tavolo in biblioteca">
            <a:extLst>
              <a:ext uri="{FF2B5EF4-FFF2-40B4-BE49-F238E27FC236}">
                <a16:creationId xmlns:a16="http://schemas.microsoft.com/office/drawing/2014/main" id="{1A5F02FB-FDF1-427A-AB2F-50F09EBEE54E}"/>
              </a:ext>
            </a:extLst>
          </p:cNvPr>
          <p:cNvPicPr>
            <a:picLocks noGrp="1" noChangeAspect="1"/>
          </p:cNvPicPr>
          <p:nvPr>
            <p:ph type="pic" sz="quarter" idx="10"/>
          </p:nvPr>
        </p:nvPicPr>
        <p:blipFill rotWithShape="1">
          <a:blip r:embed="rId6" cstate="email">
            <a:extLst>
              <a:ext uri="{28A0092B-C50C-407E-A947-70E740481C1C}">
                <a14:useLocalDpi xmlns:a14="http://schemas.microsoft.com/office/drawing/2010/main"/>
              </a:ext>
            </a:extLst>
          </a:blip>
          <a:srcRect/>
          <a:stretch/>
        </p:blipFill>
        <p:spPr>
          <a:xfrm>
            <a:off x="-19578" y="23225"/>
            <a:ext cx="12192001" cy="6858000"/>
          </a:xfrm>
        </p:spPr>
      </p:pic>
      <p:grpSp>
        <p:nvGrpSpPr>
          <p:cNvPr id="3" name="Gruppo 2">
            <a:extLst>
              <a:ext uri="{FF2B5EF4-FFF2-40B4-BE49-F238E27FC236}">
                <a16:creationId xmlns:a16="http://schemas.microsoft.com/office/drawing/2014/main" id="{B96D2D9B-E0B9-499F-9404-108DB59E4502}"/>
              </a:ext>
              <a:ext uri="{C183D7F6-B498-43B3-948B-1728B52AA6E4}">
                <adec:decorative xmlns:adec="http://schemas.microsoft.com/office/drawing/2017/decorative" val="1"/>
              </a:ext>
            </a:extLst>
          </p:cNvPr>
          <p:cNvGrpSpPr/>
          <p:nvPr/>
        </p:nvGrpSpPr>
        <p:grpSpPr>
          <a:xfrm>
            <a:off x="0" y="0"/>
            <a:ext cx="6957056" cy="6858000"/>
            <a:chOff x="0" y="0"/>
            <a:chExt cx="6957056" cy="6858000"/>
          </a:xfrm>
        </p:grpSpPr>
        <p:sp>
          <p:nvSpPr>
            <p:cNvPr id="33" name="Parallelogramma 32">
              <a:extLst>
                <a:ext uri="{FF2B5EF4-FFF2-40B4-BE49-F238E27FC236}">
                  <a16:creationId xmlns:a16="http://schemas.microsoft.com/office/drawing/2014/main" id="{7E2E6584-76E9-4C56-A349-C9CDC96DC5F0}"/>
                </a:ext>
              </a:extLst>
            </p:cNvPr>
            <p:cNvSpPr/>
            <p:nvPr/>
          </p:nvSpPr>
          <p:spPr>
            <a:xfrm>
              <a:off x="1150750" y="0"/>
              <a:ext cx="5491804" cy="6858000"/>
            </a:xfrm>
            <a:prstGeom prst="parallelogram">
              <a:avLst>
                <a:gd name="adj" fmla="val 32713"/>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0" name="Figura a mano libera: Forma 9">
              <a:extLst>
                <a:ext uri="{FF2B5EF4-FFF2-40B4-BE49-F238E27FC236}">
                  <a16:creationId xmlns:a16="http://schemas.microsoft.com/office/drawing/2014/main" id="{B73F00D5-E18D-4210-AD3E-3ED73CEE4865}"/>
                </a:ext>
              </a:extLst>
            </p:cNvPr>
            <p:cNvSpPr/>
            <p:nvPr/>
          </p:nvSpPr>
          <p:spPr>
            <a:xfrm flipH="1" flipV="1">
              <a:off x="0" y="482600"/>
              <a:ext cx="6957056" cy="5892799"/>
            </a:xfrm>
            <a:custGeom>
              <a:avLst/>
              <a:gdLst>
                <a:gd name="connsiteX0" fmla="*/ 6957056 w 6957056"/>
                <a:gd name="connsiteY0" fmla="*/ 5892799 h 5892799"/>
                <a:gd name="connsiteX1" fmla="*/ 0 w 6957056"/>
                <a:gd name="connsiteY1" fmla="*/ 5892799 h 5892799"/>
                <a:gd name="connsiteX2" fmla="*/ 1473200 w 6957056"/>
                <a:gd name="connsiteY2" fmla="*/ 0 h 5892799"/>
                <a:gd name="connsiteX3" fmla="*/ 6957056 w 6957056"/>
                <a:gd name="connsiteY3" fmla="*/ 0 h 5892799"/>
              </a:gdLst>
              <a:ahLst/>
              <a:cxnLst>
                <a:cxn ang="0">
                  <a:pos x="connsiteX0" y="connsiteY0"/>
                </a:cxn>
                <a:cxn ang="0">
                  <a:pos x="connsiteX1" y="connsiteY1"/>
                </a:cxn>
                <a:cxn ang="0">
                  <a:pos x="connsiteX2" y="connsiteY2"/>
                </a:cxn>
                <a:cxn ang="0">
                  <a:pos x="connsiteX3" y="connsiteY3"/>
                </a:cxn>
              </a:cxnLst>
              <a:rect l="l" t="t" r="r" b="b"/>
              <a:pathLst>
                <a:path w="6957056" h="5892799">
                  <a:moveTo>
                    <a:pt x="6957056" y="5892799"/>
                  </a:moveTo>
                  <a:lnTo>
                    <a:pt x="0" y="5892799"/>
                  </a:lnTo>
                  <a:lnTo>
                    <a:pt x="1473200" y="0"/>
                  </a:lnTo>
                  <a:lnTo>
                    <a:pt x="6957056" y="0"/>
                  </a:lnTo>
                  <a:close/>
                </a:path>
              </a:pathLst>
            </a:custGeom>
            <a:solidFill>
              <a:schemeClr val="accent2">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13" name="Figura a mano libera: Forma 12">
              <a:extLst>
                <a:ext uri="{FF2B5EF4-FFF2-40B4-BE49-F238E27FC236}">
                  <a16:creationId xmlns:a16="http://schemas.microsoft.com/office/drawing/2014/main" id="{C6577883-A694-450C-A2C7-C9C8A85D9915}"/>
                </a:ext>
              </a:extLst>
            </p:cNvPr>
            <p:cNvSpPr/>
            <p:nvPr/>
          </p:nvSpPr>
          <p:spPr>
            <a:xfrm flipH="1" flipV="1">
              <a:off x="0" y="4457696"/>
              <a:ext cx="6267450" cy="883839"/>
            </a:xfrm>
            <a:custGeom>
              <a:avLst/>
              <a:gdLst>
                <a:gd name="connsiteX0" fmla="*/ 6267450 w 6267450"/>
                <a:gd name="connsiteY0" fmla="*/ 883839 h 883839"/>
                <a:gd name="connsiteX1" fmla="*/ 0 w 6267450"/>
                <a:gd name="connsiteY1" fmla="*/ 883839 h 883839"/>
                <a:gd name="connsiteX2" fmla="*/ 220960 w 6267450"/>
                <a:gd name="connsiteY2" fmla="*/ 0 h 883839"/>
                <a:gd name="connsiteX3" fmla="*/ 6267450 w 6267450"/>
                <a:gd name="connsiteY3" fmla="*/ 0 h 883839"/>
              </a:gdLst>
              <a:ahLst/>
              <a:cxnLst>
                <a:cxn ang="0">
                  <a:pos x="connsiteX0" y="connsiteY0"/>
                </a:cxn>
                <a:cxn ang="0">
                  <a:pos x="connsiteX1" y="connsiteY1"/>
                </a:cxn>
                <a:cxn ang="0">
                  <a:pos x="connsiteX2" y="connsiteY2"/>
                </a:cxn>
                <a:cxn ang="0">
                  <a:pos x="connsiteX3" y="connsiteY3"/>
                </a:cxn>
              </a:cxnLst>
              <a:rect l="l" t="t" r="r" b="b"/>
              <a:pathLst>
                <a:path w="6267450" h="883839">
                  <a:moveTo>
                    <a:pt x="6267450" y="883839"/>
                  </a:moveTo>
                  <a:lnTo>
                    <a:pt x="0" y="883839"/>
                  </a:lnTo>
                  <a:lnTo>
                    <a:pt x="220960" y="0"/>
                  </a:lnTo>
                  <a:lnTo>
                    <a:pt x="6267450" y="0"/>
                  </a:lnTo>
                  <a:close/>
                </a:path>
              </a:pathLst>
            </a:cu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grpSp>
      <p:sp>
        <p:nvSpPr>
          <p:cNvPr id="31" name="Titolo 30" descr="titolo">
            <a:extLst>
              <a:ext uri="{FF2B5EF4-FFF2-40B4-BE49-F238E27FC236}">
                <a16:creationId xmlns:a16="http://schemas.microsoft.com/office/drawing/2014/main" id="{9284195F-D106-45D8-ABAA-959FA68948B0}"/>
              </a:ext>
            </a:extLst>
          </p:cNvPr>
          <p:cNvSpPr>
            <a:spLocks noGrp="1"/>
          </p:cNvSpPr>
          <p:nvPr>
            <p:ph type="ctrTitle"/>
          </p:nvPr>
        </p:nvSpPr>
        <p:spPr>
          <a:xfrm>
            <a:off x="316020" y="1516465"/>
            <a:ext cx="5330038" cy="2634273"/>
          </a:xfrm>
        </p:spPr>
        <p:txBody>
          <a:bodyPr vert="horz" rtlCol="0"/>
          <a:lstStyle/>
          <a:p>
            <a:pPr rtl="0"/>
            <a:r>
              <a:rPr lang="it-IT" sz="4000" b="1" dirty="0"/>
              <a:t>Sperimentazione didattica </a:t>
            </a:r>
            <a:r>
              <a:rPr lang="it-IT" sz="4000" dirty="0"/>
              <a:t>e modelli di riferimento a confronto: uno sguardo intorno al mondo</a:t>
            </a:r>
          </a:p>
        </p:txBody>
      </p:sp>
      <p:sp>
        <p:nvSpPr>
          <p:cNvPr id="12" name="Sottotitolo 11" descr="sottotitolo">
            <a:extLst>
              <a:ext uri="{FF2B5EF4-FFF2-40B4-BE49-F238E27FC236}">
                <a16:creationId xmlns:a16="http://schemas.microsoft.com/office/drawing/2014/main" id="{A6AB5563-AD44-4883-8D3E-93E27EEDAA40}"/>
              </a:ext>
            </a:extLst>
          </p:cNvPr>
          <p:cNvSpPr>
            <a:spLocks noGrp="1"/>
          </p:cNvSpPr>
          <p:nvPr>
            <p:ph type="subTitle" idx="1"/>
          </p:nvPr>
        </p:nvSpPr>
        <p:spPr>
          <a:xfrm>
            <a:off x="596548" y="4457696"/>
            <a:ext cx="5049510" cy="521208"/>
          </a:xfrm>
        </p:spPr>
        <p:txBody>
          <a:bodyPr rtlCol="0"/>
          <a:lstStyle/>
          <a:p>
            <a:r>
              <a:rPr lang="it-IT" b="1" dirty="0"/>
              <a:t>Stefania Morsanuto</a:t>
            </a:r>
          </a:p>
          <a:p>
            <a:r>
              <a:rPr lang="it-IT" dirty="0"/>
              <a:t>Professore Associato </a:t>
            </a:r>
            <a:endParaRPr lang="it-IT" b="1" dirty="0"/>
          </a:p>
          <a:p>
            <a:r>
              <a:rPr lang="it-IT" b="1" dirty="0"/>
              <a:t>PEGASO UNIVERSITÀ TELEMATICA</a:t>
            </a:r>
          </a:p>
        </p:txBody>
      </p:sp>
      <p:pic>
        <p:nvPicPr>
          <p:cNvPr id="7" name="Immagine 6" descr="Immagine che contiene cavallo, Carattere, testo, logo&#10;&#10;Descrizione generata automaticamente">
            <a:extLst>
              <a:ext uri="{FF2B5EF4-FFF2-40B4-BE49-F238E27FC236}">
                <a16:creationId xmlns:a16="http://schemas.microsoft.com/office/drawing/2014/main" id="{B4D296C3-4CB1-1E58-098D-784CD16D45A0}"/>
              </a:ext>
            </a:extLst>
          </p:cNvPr>
          <p:cNvPicPr>
            <a:picLocks noChangeAspect="1"/>
          </p:cNvPicPr>
          <p:nvPr/>
        </p:nvPicPr>
        <p:blipFill>
          <a:blip r:embed="rId7"/>
          <a:stretch>
            <a:fillRect/>
          </a:stretch>
        </p:blipFill>
        <p:spPr>
          <a:xfrm>
            <a:off x="2288430" y="5392267"/>
            <a:ext cx="1190098" cy="932400"/>
          </a:xfrm>
          <a:prstGeom prst="rect">
            <a:avLst/>
          </a:prstGeom>
        </p:spPr>
      </p:pic>
    </p:spTree>
    <p:extLst>
      <p:ext uri="{BB962C8B-B14F-4D97-AF65-F5344CB8AC3E}">
        <p14:creationId xmlns:p14="http://schemas.microsoft.com/office/powerpoint/2010/main" val="23665782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786D56B9-96B8-2A80-91C1-60FE5D4CBB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5" name="Oggetto 4" hidden="1">
                        <a:extLst>
                          <a:ext uri="{FF2B5EF4-FFF2-40B4-BE49-F238E27FC236}">
                            <a16:creationId xmlns:a16="http://schemas.microsoft.com/office/drawing/2014/main" id="{786D56B9-96B8-2A80-91C1-60FE5D4CB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Segnaposto immagine 13">
            <a:extLst>
              <a:ext uri="{FF2B5EF4-FFF2-40B4-BE49-F238E27FC236}">
                <a16:creationId xmlns:a16="http://schemas.microsoft.com/office/drawing/2014/main" id="{E983D85E-34D8-430D-875F-7EBB69A6B73E}"/>
              </a:ext>
            </a:extLst>
          </p:cNvPr>
          <p:cNvPicPr>
            <a:picLocks noGrp="1" noChangeAspect="1"/>
          </p:cNvPicPr>
          <p:nvPr>
            <p:ph type="pic" sz="quarter" idx="10"/>
          </p:nvPr>
        </p:nvPicPr>
        <p:blipFill>
          <a:blip r:embed="rId6"/>
          <a:srcRect/>
          <a:stretch/>
        </p:blipFill>
        <p:spPr>
          <a:xfrm>
            <a:off x="0" y="0"/>
            <a:ext cx="6204910" cy="6858000"/>
          </a:xfrm>
        </p:spPr>
      </p:pic>
      <p:grpSp>
        <p:nvGrpSpPr>
          <p:cNvPr id="4" name="Gruppo 3">
            <a:extLst>
              <a:ext uri="{FF2B5EF4-FFF2-40B4-BE49-F238E27FC236}">
                <a16:creationId xmlns:a16="http://schemas.microsoft.com/office/drawing/2014/main" id="{EB664AAE-5AE9-41D7-8346-002B9F445323}"/>
              </a:ext>
              <a:ext uri="{C183D7F6-B498-43B3-948B-1728B52AA6E4}">
                <adec:decorative xmlns:adec="http://schemas.microsoft.com/office/drawing/2017/decorative" val="1"/>
              </a:ext>
            </a:extLst>
          </p:cNvPr>
          <p:cNvGrpSpPr/>
          <p:nvPr/>
        </p:nvGrpSpPr>
        <p:grpSpPr>
          <a:xfrm>
            <a:off x="-3740" y="0"/>
            <a:ext cx="6208649" cy="6858000"/>
            <a:chOff x="-3740" y="0"/>
            <a:chExt cx="6208649" cy="6858000"/>
          </a:xfrm>
        </p:grpSpPr>
        <p:sp>
          <p:nvSpPr>
            <p:cNvPr id="11" name="Figura a mano libera: Forma 10">
              <a:extLst>
                <a:ext uri="{FF2B5EF4-FFF2-40B4-BE49-F238E27FC236}">
                  <a16:creationId xmlns:a16="http://schemas.microsoft.com/office/drawing/2014/main" id="{927C3783-B800-4093-BB0D-D5AEF08C3B59}"/>
                </a:ext>
              </a:extLst>
            </p:cNvPr>
            <p:cNvSpPr/>
            <p:nvPr/>
          </p:nvSpPr>
          <p:spPr>
            <a:xfrm>
              <a:off x="-3740" y="0"/>
              <a:ext cx="6208649" cy="6858000"/>
            </a:xfrm>
            <a:custGeom>
              <a:avLst/>
              <a:gdLst>
                <a:gd name="connsiteX0" fmla="*/ 0 w 6208649"/>
                <a:gd name="connsiteY0" fmla="*/ 0 h 6858000"/>
                <a:gd name="connsiteX1" fmla="*/ 6208649 w 6208649"/>
                <a:gd name="connsiteY1" fmla="*/ 0 h 6858000"/>
                <a:gd name="connsiteX2" fmla="*/ 2737815 w 6208649"/>
                <a:gd name="connsiteY2" fmla="*/ 6858000 h 6858000"/>
                <a:gd name="connsiteX3" fmla="*/ 0 w 620864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08649" h="6858000">
                  <a:moveTo>
                    <a:pt x="0" y="0"/>
                  </a:moveTo>
                  <a:lnTo>
                    <a:pt x="6208649" y="0"/>
                  </a:lnTo>
                  <a:lnTo>
                    <a:pt x="2737815" y="6858000"/>
                  </a:lnTo>
                  <a:lnTo>
                    <a:pt x="0" y="6858000"/>
                  </a:lnTo>
                  <a:close/>
                </a:path>
              </a:pathLst>
            </a:custGeom>
            <a:solidFill>
              <a:schemeClr val="bg1">
                <a:lumMod val="95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9" name="Rettangolo 8">
              <a:extLst>
                <a:ext uri="{FF2B5EF4-FFF2-40B4-BE49-F238E27FC236}">
                  <a16:creationId xmlns:a16="http://schemas.microsoft.com/office/drawing/2014/main" id="{B576E978-A841-4A4F-B153-CC369D9391D3}"/>
                </a:ext>
              </a:extLst>
            </p:cNvPr>
            <p:cNvSpPr/>
            <p:nvPr/>
          </p:nvSpPr>
          <p:spPr>
            <a:xfrm>
              <a:off x="1451429" y="0"/>
              <a:ext cx="3222172" cy="6858000"/>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10" name="CasellaDiTesto 9">
            <a:extLst>
              <a:ext uri="{FF2B5EF4-FFF2-40B4-BE49-F238E27FC236}">
                <a16:creationId xmlns:a16="http://schemas.microsoft.com/office/drawing/2014/main" id="{91FD0D2B-0193-D30D-561D-F9674D90E20E}"/>
              </a:ext>
            </a:extLst>
          </p:cNvPr>
          <p:cNvSpPr txBox="1"/>
          <p:nvPr/>
        </p:nvSpPr>
        <p:spPr>
          <a:xfrm>
            <a:off x="6620998" y="552570"/>
            <a:ext cx="5228765" cy="830997"/>
          </a:xfrm>
          <a:prstGeom prst="rect">
            <a:avLst/>
          </a:prstGeom>
          <a:noFill/>
        </p:spPr>
        <p:txBody>
          <a:bodyPr wrap="square" rtlCol="0">
            <a:spAutoFit/>
          </a:bodyPr>
          <a:lstStyle/>
          <a:p>
            <a:r>
              <a:rPr lang="it-IT" sz="2400" dirty="0">
                <a:latin typeface="+mj-lt"/>
              </a:rPr>
              <a:t>Emisfero destro e sinistro.</a:t>
            </a:r>
          </a:p>
          <a:p>
            <a:r>
              <a:rPr lang="it-IT" sz="2400" dirty="0">
                <a:latin typeface="+mj-lt"/>
              </a:rPr>
              <a:t>Da idea a progetto</a:t>
            </a:r>
          </a:p>
        </p:txBody>
      </p:sp>
      <p:sp>
        <p:nvSpPr>
          <p:cNvPr id="16" name="Text Placeholder 2">
            <a:extLst>
              <a:ext uri="{FF2B5EF4-FFF2-40B4-BE49-F238E27FC236}">
                <a16:creationId xmlns:a16="http://schemas.microsoft.com/office/drawing/2014/main" id="{064BF3E5-2C35-A3FA-60CA-B94F724C4372}"/>
              </a:ext>
            </a:extLst>
          </p:cNvPr>
          <p:cNvSpPr txBox="1">
            <a:spLocks/>
          </p:cNvSpPr>
          <p:nvPr/>
        </p:nvSpPr>
        <p:spPr>
          <a:xfrm>
            <a:off x="9480560" y="2008559"/>
            <a:ext cx="2502333" cy="91387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it-IT" sz="1400" dirty="0"/>
              <a:t>L’emisfero sinistro, quello della </a:t>
            </a:r>
            <a:r>
              <a:rPr lang="it-IT" sz="1400" b="1" dirty="0"/>
              <a:t>logica</a:t>
            </a:r>
            <a:r>
              <a:rPr lang="it-IT" sz="1400" dirty="0"/>
              <a:t> e della razionalità permette la progettazione e programmazione dell’idea</a:t>
            </a:r>
            <a:endParaRPr lang="en-US" sz="1400" dirty="0"/>
          </a:p>
        </p:txBody>
      </p:sp>
      <p:sp>
        <p:nvSpPr>
          <p:cNvPr id="17" name="Segnaposto contenuto 2">
            <a:extLst>
              <a:ext uri="{FF2B5EF4-FFF2-40B4-BE49-F238E27FC236}">
                <a16:creationId xmlns:a16="http://schemas.microsoft.com/office/drawing/2014/main" id="{5910AA40-BADF-D63F-21A9-FFBE70E0A83A}"/>
              </a:ext>
            </a:extLst>
          </p:cNvPr>
          <p:cNvSpPr txBox="1">
            <a:spLocks/>
          </p:cNvSpPr>
          <p:nvPr/>
        </p:nvSpPr>
        <p:spPr>
          <a:xfrm>
            <a:off x="6289705" y="2008559"/>
            <a:ext cx="2945675" cy="1512594"/>
          </a:xfrm>
          <a:prstGeom prst="rect">
            <a:avLst/>
          </a:prstGeom>
        </p:spPr>
        <p:txBody>
          <a:bodyPr wrap="square"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it-IT" sz="1400" dirty="0"/>
              <a:t>Il pensiero </a:t>
            </a:r>
            <a:r>
              <a:rPr lang="it-IT" sz="1400" b="1" dirty="0"/>
              <a:t>creativo</a:t>
            </a:r>
            <a:r>
              <a:rPr lang="it-IT" sz="1400" dirty="0"/>
              <a:t>, le idee, le intuizioni create dall’emisfero destro del cervello, sono prodotte da una “raccolta di dati” costanti, che poi vengono velocemente elaborati: da lì nascono sempre nuove illuminazioni veloci, senza preavviso, spontanee e che ci provocano una forte reazione emotiva e quasi eccitazione.</a:t>
            </a:r>
          </a:p>
        </p:txBody>
      </p:sp>
      <p:sp>
        <p:nvSpPr>
          <p:cNvPr id="18" name="CasellaDiTesto 17">
            <a:extLst>
              <a:ext uri="{FF2B5EF4-FFF2-40B4-BE49-F238E27FC236}">
                <a16:creationId xmlns:a16="http://schemas.microsoft.com/office/drawing/2014/main" id="{ACDA1BDA-D507-2E9B-5257-D3692653B9D5}"/>
              </a:ext>
            </a:extLst>
          </p:cNvPr>
          <p:cNvSpPr txBox="1"/>
          <p:nvPr/>
        </p:nvSpPr>
        <p:spPr>
          <a:xfrm>
            <a:off x="7718045" y="4149768"/>
            <a:ext cx="3525029" cy="2585323"/>
          </a:xfrm>
          <a:prstGeom prst="rect">
            <a:avLst/>
          </a:prstGeom>
          <a:solidFill>
            <a:schemeClr val="bg1"/>
          </a:solidFill>
        </p:spPr>
        <p:txBody>
          <a:bodyPr wrap="square" rtlCol="0">
            <a:spAutoFit/>
          </a:bodyPr>
          <a:lstStyle/>
          <a:p>
            <a:pPr algn="just"/>
            <a:r>
              <a:rPr lang="it-IT" dirty="0"/>
              <a:t>Se i </a:t>
            </a:r>
            <a:r>
              <a:rPr lang="it-IT" b="1" dirty="0"/>
              <a:t>due emisferi </a:t>
            </a:r>
            <a:r>
              <a:rPr lang="it-IT" dirty="0"/>
              <a:t>collaborano la cosa potrebbe farsi interessante e l’idea potrebbe, grazie agli studi che abbiamo fatto, alle procedure precise che sappiamo mettere in atto e al metodo che abbiamo imparato, trasformarsi in un bel progetto! </a:t>
            </a:r>
          </a:p>
          <a:p>
            <a:endParaRPr lang="it-IT" dirty="0"/>
          </a:p>
        </p:txBody>
      </p:sp>
    </p:spTree>
    <p:extLst>
      <p:ext uri="{BB962C8B-B14F-4D97-AF65-F5344CB8AC3E}">
        <p14:creationId xmlns:p14="http://schemas.microsoft.com/office/powerpoint/2010/main" val="36813719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01FCCB21-B85B-EE77-1988-F1A83BE48A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2" name="Oggetto 1" hidden="1">
                        <a:extLst>
                          <a:ext uri="{FF2B5EF4-FFF2-40B4-BE49-F238E27FC236}">
                            <a16:creationId xmlns:a16="http://schemas.microsoft.com/office/drawing/2014/main" id="{01FCCB21-B85B-EE77-1988-F1A83BE48A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a:extLst>
              <a:ext uri="{FF2B5EF4-FFF2-40B4-BE49-F238E27FC236}">
                <a16:creationId xmlns:a16="http://schemas.microsoft.com/office/drawing/2014/main" id="{3111B687-3781-4457-A624-86311FC69082}"/>
              </a:ext>
            </a:extLst>
          </p:cNvPr>
          <p:cNvPicPr>
            <a:picLocks noGrp="1" noChangeAspect="1"/>
          </p:cNvPicPr>
          <p:nvPr>
            <p:ph type="pic" sz="quarter" idx="10"/>
          </p:nvPr>
        </p:nvPicPr>
        <p:blipFill>
          <a:blip r:embed="rId6"/>
          <a:srcRect/>
          <a:stretch/>
        </p:blipFill>
        <p:spPr>
          <a:xfrm>
            <a:off x="6836125" y="0"/>
            <a:ext cx="5355875" cy="6858000"/>
          </a:xfrm>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568857"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 uri="{C183D7F6-B498-43B3-948B-1728B52AA6E4}">
                  <adec:decorative xmlns:adec="http://schemas.microsoft.com/office/drawing/2017/decorative" val="1"/>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b="1" dirty="0"/>
              <a:t>Il Progetto è Esperienza</a:t>
            </a:r>
          </a:p>
        </p:txBody>
      </p:sp>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a:xfrm>
            <a:off x="633186" y="1388436"/>
            <a:ext cx="7156598" cy="3368675"/>
          </a:xfrm>
        </p:spPr>
        <p:txBody>
          <a:bodyPr rtlCol="0"/>
          <a:lstStyle/>
          <a:p>
            <a:pPr algn="just"/>
            <a:r>
              <a:rPr lang="en-US" sz="2400" dirty="0"/>
              <a:t>Lo </a:t>
            </a:r>
            <a:r>
              <a:rPr lang="en-US" sz="2400" dirty="0" err="1"/>
              <a:t>stato</a:t>
            </a:r>
            <a:r>
              <a:rPr lang="en-US" sz="2400" dirty="0"/>
              <a:t> </a:t>
            </a:r>
            <a:r>
              <a:rPr lang="en-US" sz="2400" dirty="0" err="1"/>
              <a:t>ottimale</a:t>
            </a:r>
            <a:r>
              <a:rPr lang="en-US" sz="2400" dirty="0"/>
              <a:t> </a:t>
            </a:r>
            <a:r>
              <a:rPr lang="en-US" sz="2400" dirty="0" err="1"/>
              <a:t>dell’esperienza</a:t>
            </a:r>
            <a:r>
              <a:rPr lang="en-US" sz="2400" dirty="0"/>
              <a:t> </a:t>
            </a:r>
            <a:r>
              <a:rPr lang="en-US" sz="2400" dirty="0" err="1"/>
              <a:t>si</a:t>
            </a:r>
            <a:r>
              <a:rPr lang="en-US" sz="2400" dirty="0"/>
              <a:t> </a:t>
            </a:r>
            <a:r>
              <a:rPr lang="en-US" sz="2400" dirty="0" err="1"/>
              <a:t>realizza</a:t>
            </a:r>
            <a:r>
              <a:rPr lang="en-US" sz="2400" dirty="0"/>
              <a:t> </a:t>
            </a:r>
            <a:r>
              <a:rPr lang="en-US" sz="2400" dirty="0" err="1"/>
              <a:t>quando</a:t>
            </a:r>
            <a:r>
              <a:rPr lang="en-US" sz="2400" dirty="0"/>
              <a:t> </a:t>
            </a:r>
            <a:r>
              <a:rPr lang="en-US" sz="2400" dirty="0" err="1"/>
              <a:t>l’</a:t>
            </a:r>
            <a:r>
              <a:rPr lang="en-US" sz="2400" b="1" dirty="0" err="1"/>
              <a:t>attenzione</a:t>
            </a:r>
            <a:r>
              <a:rPr lang="en-US" sz="2400" b="1" dirty="0"/>
              <a:t> </a:t>
            </a:r>
            <a:r>
              <a:rPr lang="en-US" sz="2400" b="1" dirty="0" err="1"/>
              <a:t>viene</a:t>
            </a:r>
            <a:r>
              <a:rPr lang="en-US" sz="2400" b="1" dirty="0"/>
              <a:t> </a:t>
            </a:r>
            <a:r>
              <a:rPr lang="en-US" sz="2400" b="1" dirty="0" err="1"/>
              <a:t>investita</a:t>
            </a:r>
            <a:r>
              <a:rPr lang="en-US" sz="2400" b="1" dirty="0"/>
              <a:t> in </a:t>
            </a:r>
            <a:r>
              <a:rPr lang="en-US" sz="2400" b="1" dirty="0" err="1"/>
              <a:t>obiettivi</a:t>
            </a:r>
            <a:r>
              <a:rPr lang="en-US" sz="2400" b="1" dirty="0"/>
              <a:t> </a:t>
            </a:r>
            <a:r>
              <a:rPr lang="en-US" sz="2400" dirty="0"/>
              <a:t>e </a:t>
            </a:r>
            <a:r>
              <a:rPr lang="en-US" sz="2400" dirty="0" err="1"/>
              <a:t>quando</a:t>
            </a:r>
            <a:r>
              <a:rPr lang="en-US" sz="2400" dirty="0"/>
              <a:t> le </a:t>
            </a:r>
            <a:r>
              <a:rPr lang="en-US" sz="2400" b="1" dirty="0" err="1"/>
              <a:t>capacità</a:t>
            </a:r>
            <a:r>
              <a:rPr lang="en-US" sz="2400" b="1" dirty="0"/>
              <a:t> </a:t>
            </a:r>
            <a:r>
              <a:rPr lang="en-US" sz="2400" b="1" dirty="0" err="1"/>
              <a:t>coincidono</a:t>
            </a:r>
            <a:r>
              <a:rPr lang="en-US" sz="2400" b="1" dirty="0"/>
              <a:t> </a:t>
            </a:r>
            <a:r>
              <a:rPr lang="en-US" sz="2400" dirty="0"/>
              <a:t>con le </a:t>
            </a:r>
            <a:r>
              <a:rPr lang="en-US" sz="2400" b="1" dirty="0" err="1"/>
              <a:t>opportunità</a:t>
            </a:r>
            <a:r>
              <a:rPr lang="en-US" sz="2400" dirty="0"/>
              <a:t> di azione.</a:t>
            </a:r>
          </a:p>
          <a:p>
            <a:pPr algn="just"/>
            <a:r>
              <a:rPr lang="en-US" sz="2400" dirty="0"/>
              <a:t>Una persona (</a:t>
            </a:r>
            <a:r>
              <a:rPr lang="en-US" sz="2400" dirty="0" err="1"/>
              <a:t>sia</a:t>
            </a:r>
            <a:r>
              <a:rPr lang="en-US" sz="2400" dirty="0"/>
              <a:t> </a:t>
            </a:r>
            <a:r>
              <a:rPr lang="en-US" sz="2400" dirty="0" err="1"/>
              <a:t>essa</a:t>
            </a:r>
            <a:r>
              <a:rPr lang="en-US" sz="2400" dirty="0"/>
              <a:t> </a:t>
            </a:r>
            <a:r>
              <a:rPr lang="en-US" sz="2400" dirty="0" err="1"/>
              <a:t>insegnante</a:t>
            </a:r>
            <a:r>
              <a:rPr lang="en-US" sz="2400" dirty="0"/>
              <a:t> o </a:t>
            </a:r>
            <a:r>
              <a:rPr lang="en-US" sz="2400" dirty="0" err="1"/>
              <a:t>studente</a:t>
            </a:r>
            <a:r>
              <a:rPr lang="en-US" sz="2400" dirty="0"/>
              <a:t>) </a:t>
            </a:r>
            <a:r>
              <a:rPr lang="en-US" sz="2400" dirty="0" err="1"/>
              <a:t>che</a:t>
            </a:r>
            <a:r>
              <a:rPr lang="en-US" sz="2400" dirty="0"/>
              <a:t> </a:t>
            </a:r>
            <a:r>
              <a:rPr lang="en-US" sz="2400" dirty="0" err="1"/>
              <a:t>raggiunge</a:t>
            </a:r>
            <a:r>
              <a:rPr lang="en-US" sz="2400" dirty="0"/>
              <a:t> il </a:t>
            </a:r>
            <a:r>
              <a:rPr lang="en-US" sz="2400" dirty="0" err="1"/>
              <a:t>controllo</a:t>
            </a:r>
            <a:r>
              <a:rPr lang="en-US" sz="2400" dirty="0"/>
              <a:t> </a:t>
            </a:r>
            <a:r>
              <a:rPr lang="en-US" sz="2400" dirty="0" err="1"/>
              <a:t>dell’attenzione</a:t>
            </a:r>
            <a:r>
              <a:rPr lang="en-US" sz="2400" dirty="0"/>
              <a:t> non </a:t>
            </a:r>
            <a:r>
              <a:rPr lang="en-US" sz="2400" dirty="0" err="1"/>
              <a:t>può</a:t>
            </a:r>
            <a:r>
              <a:rPr lang="en-US" sz="2400" dirty="0"/>
              <a:t> non </a:t>
            </a:r>
            <a:r>
              <a:rPr lang="en-US" sz="2400" dirty="0" err="1"/>
              <a:t>evolversi</a:t>
            </a:r>
            <a:r>
              <a:rPr lang="en-US" sz="2400" dirty="0"/>
              <a:t> in un </a:t>
            </a:r>
            <a:r>
              <a:rPr lang="en-US" sz="2400" i="1" dirty="0"/>
              <a:t>“</a:t>
            </a:r>
            <a:r>
              <a:rPr lang="en-US" sz="2400" i="1" dirty="0" err="1"/>
              <a:t>essere</a:t>
            </a:r>
            <a:r>
              <a:rPr lang="en-US" sz="2400" i="1" dirty="0"/>
              <a:t> </a:t>
            </a:r>
            <a:r>
              <a:rPr lang="en-US" sz="2400" i="1" dirty="0" err="1"/>
              <a:t>più</a:t>
            </a:r>
            <a:r>
              <a:rPr lang="en-US" sz="2400" i="1" dirty="0"/>
              <a:t> </a:t>
            </a:r>
            <a:r>
              <a:rPr lang="en-US" sz="2400" i="1" dirty="0" err="1"/>
              <a:t>complesso</a:t>
            </a:r>
            <a:r>
              <a:rPr lang="en-US" sz="2400" i="1" dirty="0"/>
              <a:t>” (</a:t>
            </a:r>
            <a:r>
              <a:rPr lang="en-US" sz="2400" i="1" dirty="0" err="1"/>
              <a:t>Csìkszentmihàlyi</a:t>
            </a:r>
            <a:r>
              <a:rPr lang="en-US" sz="2400" i="1" dirty="0"/>
              <a:t>, 2021)</a:t>
            </a:r>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7" name="Segnaposto numero diapositiva 5" descr="Numero diapositiva">
            <a:extLst>
              <a:ext uri="{FF2B5EF4-FFF2-40B4-BE49-F238E27FC236}">
                <a16:creationId xmlns:a16="http://schemas.microsoft.com/office/drawing/2014/main" id="{79161314-0A22-4109-A2B1-41E87EFE1E18}"/>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11</a:t>
            </a:fld>
            <a:endParaRPr lang="it-IT" sz="1200">
              <a:solidFill>
                <a:schemeClr val="bg1"/>
              </a:solidFill>
            </a:endParaRPr>
          </a:p>
        </p:txBody>
      </p:sp>
      <p:graphicFrame>
        <p:nvGraphicFramePr>
          <p:cNvPr id="3" name="Diagramma 2">
            <a:extLst>
              <a:ext uri="{FF2B5EF4-FFF2-40B4-BE49-F238E27FC236}">
                <a16:creationId xmlns:a16="http://schemas.microsoft.com/office/drawing/2014/main" id="{FE4724E8-8E8C-9F4A-1BAE-F554C7BA8C78}"/>
              </a:ext>
            </a:extLst>
          </p:cNvPr>
          <p:cNvGraphicFramePr/>
          <p:nvPr>
            <p:extLst>
              <p:ext uri="{D42A27DB-BD31-4B8C-83A1-F6EECF244321}">
                <p14:modId xmlns:p14="http://schemas.microsoft.com/office/powerpoint/2010/main" val="817979593"/>
              </p:ext>
            </p:extLst>
          </p:nvPr>
        </p:nvGraphicFramePr>
        <p:xfrm>
          <a:off x="2431639" y="3863063"/>
          <a:ext cx="3559691" cy="282439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4084824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Immagine 20">
            <a:extLst>
              <a:ext uri="{FF2B5EF4-FFF2-40B4-BE49-F238E27FC236}">
                <a16:creationId xmlns:a16="http://schemas.microsoft.com/office/drawing/2014/main" id="{5B9F0DF2-3E22-72B9-1C56-5E7FE0222EAF}"/>
              </a:ext>
            </a:extLst>
          </p:cNvPr>
          <p:cNvPicPr>
            <a:picLocks noChangeAspect="1"/>
          </p:cNvPicPr>
          <p:nvPr/>
        </p:nvPicPr>
        <p:blipFill>
          <a:blip r:embed="rId2"/>
          <a:stretch>
            <a:fillRect/>
          </a:stretch>
        </p:blipFill>
        <p:spPr>
          <a:xfrm>
            <a:off x="5532582" y="1981200"/>
            <a:ext cx="542591" cy="548688"/>
          </a:xfrm>
          <a:prstGeom prst="rect">
            <a:avLst/>
          </a:prstGeom>
        </p:spPr>
      </p:pic>
      <p:pic>
        <p:nvPicPr>
          <p:cNvPr id="20" name="Segnaposto contenuto 19">
            <a:extLst>
              <a:ext uri="{FF2B5EF4-FFF2-40B4-BE49-F238E27FC236}">
                <a16:creationId xmlns:a16="http://schemas.microsoft.com/office/drawing/2014/main" id="{5356A29D-B52C-E1F7-8B3D-E1AE18F60F22}"/>
              </a:ext>
            </a:extLst>
          </p:cNvPr>
          <p:cNvPicPr>
            <a:picLocks noGrp="1" noChangeAspect="1"/>
          </p:cNvPicPr>
          <p:nvPr>
            <p:ph sz="quarter" idx="13"/>
          </p:nvPr>
        </p:nvPicPr>
        <p:blipFill>
          <a:blip r:embed="rId3"/>
          <a:stretch>
            <a:fillRect/>
          </a:stretch>
        </p:blipFill>
        <p:spPr>
          <a:xfrm>
            <a:off x="1909019" y="1981200"/>
            <a:ext cx="544413" cy="549275"/>
          </a:xfrm>
          <a:prstGeom prst="rect">
            <a:avLst/>
          </a:prstGeom>
        </p:spPr>
      </p:pic>
      <p:pic>
        <p:nvPicPr>
          <p:cNvPr id="5" name="Immagine 4">
            <a:extLst>
              <a:ext uri="{FF2B5EF4-FFF2-40B4-BE49-F238E27FC236}">
                <a16:creationId xmlns:a16="http://schemas.microsoft.com/office/drawing/2014/main" id="{59F6E6DE-AB78-1048-EB76-B01FFE573458}"/>
              </a:ext>
            </a:extLst>
          </p:cNvPr>
          <p:cNvPicPr>
            <a:picLocks noChangeAspect="1"/>
          </p:cNvPicPr>
          <p:nvPr/>
        </p:nvPicPr>
        <p:blipFill>
          <a:blip r:embed="rId4"/>
          <a:stretch>
            <a:fillRect/>
          </a:stretch>
        </p:blipFill>
        <p:spPr>
          <a:xfrm>
            <a:off x="6836125" y="1017868"/>
            <a:ext cx="5355875" cy="4822263"/>
          </a:xfrm>
          <a:prstGeom prst="rect">
            <a:avLst/>
          </a:prstGeom>
          <a:noFill/>
        </p:spPr>
      </p:pic>
      <p:sp>
        <p:nvSpPr>
          <p:cNvPr id="3" name="Segnaposto contenuto 2">
            <a:extLst>
              <a:ext uri="{FF2B5EF4-FFF2-40B4-BE49-F238E27FC236}">
                <a16:creationId xmlns:a16="http://schemas.microsoft.com/office/drawing/2014/main" id="{F71CAE52-0241-6A1D-605B-EA27B69CCC22}"/>
              </a:ext>
            </a:extLst>
          </p:cNvPr>
          <p:cNvSpPr>
            <a:spLocks noGrp="1"/>
          </p:cNvSpPr>
          <p:nvPr>
            <p:ph type="body" sz="quarter" idx="12"/>
          </p:nvPr>
        </p:nvSpPr>
        <p:spPr>
          <a:xfrm>
            <a:off x="4386558" y="2717803"/>
            <a:ext cx="2834640" cy="3368675"/>
          </a:xfrm>
        </p:spPr>
        <p:txBody>
          <a:bodyPr wrap="square" anchor="t">
            <a:normAutofit/>
          </a:bodyPr>
          <a:lstStyle/>
          <a:p>
            <a:r>
              <a:rPr lang="it-IT" sz="2000" b="1" dirty="0"/>
              <a:t>Obiettivi specifici:</a:t>
            </a:r>
          </a:p>
          <a:p>
            <a:pPr marL="342900" indent="-342900">
              <a:buClr>
                <a:srgbClr val="AB678E"/>
              </a:buClr>
              <a:buFont typeface="Arial" panose="020B0604020202020204" pitchFamily="34" charset="0"/>
              <a:buChar char="•"/>
            </a:pPr>
            <a:r>
              <a:rPr lang="it-IT" sz="2000" dirty="0"/>
              <a:t>Apprendimento di capacità;</a:t>
            </a:r>
          </a:p>
          <a:p>
            <a:pPr marL="342900" indent="-342900">
              <a:buClr>
                <a:srgbClr val="AB678E"/>
              </a:buClr>
              <a:buFont typeface="Arial" panose="020B0604020202020204" pitchFamily="34" charset="0"/>
              <a:buChar char="•"/>
            </a:pPr>
            <a:r>
              <a:rPr lang="it-IT" sz="2000" dirty="0"/>
              <a:t>Stabilire scopi;</a:t>
            </a:r>
          </a:p>
          <a:p>
            <a:pPr marL="342900" indent="-342900">
              <a:buClr>
                <a:srgbClr val="AB678E"/>
              </a:buClr>
              <a:buFont typeface="Arial" panose="020B0604020202020204" pitchFamily="34" charset="0"/>
              <a:buChar char="•"/>
            </a:pPr>
            <a:r>
              <a:rPr lang="it-IT" sz="2000" dirty="0"/>
              <a:t>Fornire feedback;</a:t>
            </a:r>
          </a:p>
          <a:p>
            <a:pPr marL="342900" indent="-342900">
              <a:buClr>
                <a:srgbClr val="AB678E"/>
              </a:buClr>
              <a:buFont typeface="Arial" panose="020B0604020202020204" pitchFamily="34" charset="0"/>
              <a:buChar char="•"/>
            </a:pPr>
            <a:r>
              <a:rPr lang="it-IT" sz="2000" dirty="0"/>
              <a:t>Rendere possibile il controllo</a:t>
            </a:r>
          </a:p>
        </p:txBody>
      </p:sp>
      <p:sp>
        <p:nvSpPr>
          <p:cNvPr id="2" name="Segnaposto testo 1">
            <a:extLst>
              <a:ext uri="{FF2B5EF4-FFF2-40B4-BE49-F238E27FC236}">
                <a16:creationId xmlns:a16="http://schemas.microsoft.com/office/drawing/2014/main" id="{F30E4E03-FB5D-904E-09A6-B57C1B1A814D}"/>
              </a:ext>
            </a:extLst>
          </p:cNvPr>
          <p:cNvSpPr>
            <a:spLocks noGrp="1"/>
          </p:cNvSpPr>
          <p:nvPr>
            <p:ph type="body" sz="quarter" idx="11"/>
          </p:nvPr>
        </p:nvSpPr>
        <p:spPr>
          <a:xfrm>
            <a:off x="633186" y="2717803"/>
            <a:ext cx="2834640" cy="2573864"/>
          </a:xfrm>
        </p:spPr>
        <p:txBody>
          <a:bodyPr wrap="square" anchor="t">
            <a:normAutofit/>
          </a:bodyPr>
          <a:lstStyle/>
          <a:p>
            <a:pPr marL="285750" indent="-285750"/>
            <a:r>
              <a:rPr lang="it-IT" sz="2000" b="1" dirty="0"/>
              <a:t>Scopo principale: </a:t>
            </a:r>
          </a:p>
          <a:p>
            <a:pPr marL="342900" indent="-342900">
              <a:buClr>
                <a:srgbClr val="AB678E"/>
              </a:buClr>
              <a:buFont typeface="Arial" panose="020B0604020202020204" pitchFamily="34" charset="0"/>
              <a:buChar char="•"/>
            </a:pPr>
            <a:r>
              <a:rPr lang="it-IT" sz="2000" dirty="0"/>
              <a:t>quello di fornire esperienze che diano soddisfazione</a:t>
            </a:r>
          </a:p>
          <a:p>
            <a:pPr marL="285750" indent="-285750"/>
            <a:endParaRPr lang="it-IT" dirty="0"/>
          </a:p>
          <a:p>
            <a:pPr marL="285750" indent="-285750"/>
            <a:endParaRPr lang="it-IT" dirty="0"/>
          </a:p>
          <a:p>
            <a:pPr marL="285750" indent="-285750"/>
            <a:endParaRPr lang="it-IT" dirty="0"/>
          </a:p>
          <a:p>
            <a:pPr marL="285750" indent="-285750"/>
            <a:endParaRPr lang="it-IT" dirty="0"/>
          </a:p>
        </p:txBody>
      </p:sp>
      <p:sp>
        <p:nvSpPr>
          <p:cNvPr id="4" name="Titolo 3">
            <a:extLst>
              <a:ext uri="{FF2B5EF4-FFF2-40B4-BE49-F238E27FC236}">
                <a16:creationId xmlns:a16="http://schemas.microsoft.com/office/drawing/2014/main" id="{783A564C-9A68-10C4-ABFA-D577E4D60A7D}"/>
              </a:ext>
            </a:extLst>
          </p:cNvPr>
          <p:cNvSpPr>
            <a:spLocks noGrp="1"/>
          </p:cNvSpPr>
          <p:nvPr>
            <p:ph type="title"/>
          </p:nvPr>
        </p:nvSpPr>
        <p:spPr>
          <a:xfrm>
            <a:off x="633186" y="557439"/>
            <a:ext cx="6891564" cy="830997"/>
          </a:xfrm>
        </p:spPr>
        <p:txBody>
          <a:bodyPr wrap="square" anchor="t">
            <a:normAutofit/>
          </a:bodyPr>
          <a:lstStyle/>
          <a:p>
            <a:r>
              <a:rPr lang="it-IT" b="1"/>
              <a:t>Attività che favoriscono il flow</a:t>
            </a:r>
          </a:p>
        </p:txBody>
      </p:sp>
      <p:pic>
        <p:nvPicPr>
          <p:cNvPr id="16" name="Segnaposto contenuto 15" descr="Tiro a segno contorno">
            <a:extLst>
              <a:ext uri="{FF2B5EF4-FFF2-40B4-BE49-F238E27FC236}">
                <a16:creationId xmlns:a16="http://schemas.microsoft.com/office/drawing/2014/main" id="{6688F401-9C95-4380-14B3-2F9BD4FBB0F2}"/>
              </a:ext>
            </a:extLst>
          </p:cNvPr>
          <p:cNvPicPr>
            <a:picLocks noGrp="1" noChangeAspect="1"/>
          </p:cNvPicPr>
          <p:nvPr>
            <p:ph sz="quarter" idx="14"/>
          </p:nvPr>
        </p:nvPicPr>
        <p:blipFill>
          <a:blip r:embed="rId5">
            <a:extLst>
              <a:ext uri="{96DAC541-7B7A-43D3-8B79-37D633B846F1}">
                <asvg:svgBlip xmlns:asvg="http://schemas.microsoft.com/office/drawing/2016/SVG/main" r:embed="rId6"/>
              </a:ext>
            </a:extLst>
          </a:blip>
          <a:stretch>
            <a:fillRect/>
          </a:stretch>
        </p:blipFill>
        <p:spPr>
          <a:xfrm>
            <a:off x="5645150" y="1813394"/>
            <a:ext cx="863350" cy="863350"/>
          </a:xfrm>
        </p:spPr>
      </p:pic>
      <p:pic>
        <p:nvPicPr>
          <p:cNvPr id="17" name="Immagine 16">
            <a:extLst>
              <a:ext uri="{FF2B5EF4-FFF2-40B4-BE49-F238E27FC236}">
                <a16:creationId xmlns:a16="http://schemas.microsoft.com/office/drawing/2014/main" id="{C0A8A13A-287F-D0AC-FEC7-DDDA022D82DC}"/>
              </a:ext>
            </a:extLst>
          </p:cNvPr>
          <p:cNvPicPr>
            <a:picLocks noChangeAspect="1"/>
          </p:cNvPicPr>
          <p:nvPr/>
        </p:nvPicPr>
        <p:blipFill>
          <a:blip r:embed="rId7"/>
          <a:stretch>
            <a:fillRect/>
          </a:stretch>
        </p:blipFill>
        <p:spPr>
          <a:xfrm>
            <a:off x="2063976" y="1824162"/>
            <a:ext cx="863350" cy="863350"/>
          </a:xfrm>
          <a:prstGeom prst="rect">
            <a:avLst/>
          </a:prstGeom>
        </p:spPr>
      </p:pic>
      <p:sp>
        <p:nvSpPr>
          <p:cNvPr id="22" name="CasellaDiTesto 21">
            <a:extLst>
              <a:ext uri="{FF2B5EF4-FFF2-40B4-BE49-F238E27FC236}">
                <a16:creationId xmlns:a16="http://schemas.microsoft.com/office/drawing/2014/main" id="{6A472EA4-23A3-F8D6-3A88-262161FAF57E}"/>
              </a:ext>
            </a:extLst>
          </p:cNvPr>
          <p:cNvSpPr txBox="1"/>
          <p:nvPr/>
        </p:nvSpPr>
        <p:spPr>
          <a:xfrm>
            <a:off x="633186" y="5698067"/>
            <a:ext cx="7875814" cy="646331"/>
          </a:xfrm>
          <a:prstGeom prst="rect">
            <a:avLst/>
          </a:prstGeom>
          <a:noFill/>
        </p:spPr>
        <p:txBody>
          <a:bodyPr wrap="square" rtlCol="0">
            <a:spAutoFit/>
          </a:bodyPr>
          <a:lstStyle/>
          <a:p>
            <a:r>
              <a:rPr lang="it-IT" dirty="0"/>
              <a:t>È importante non cadere nell’errore meccanicistico: NON sono solo le «vere» sfide quelle che contano, piuttosto quelle di cui la persona è consapevole. </a:t>
            </a:r>
          </a:p>
        </p:txBody>
      </p:sp>
    </p:spTree>
    <p:extLst>
      <p:ext uri="{BB962C8B-B14F-4D97-AF65-F5344CB8AC3E}">
        <p14:creationId xmlns:p14="http://schemas.microsoft.com/office/powerpoint/2010/main" val="8280789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olo 7">
            <a:extLst>
              <a:ext uri="{FF2B5EF4-FFF2-40B4-BE49-F238E27FC236}">
                <a16:creationId xmlns:a16="http://schemas.microsoft.com/office/drawing/2014/main" id="{1DFD9819-D931-EA02-5912-D3CC0D40C6CF}"/>
              </a:ext>
            </a:extLst>
          </p:cNvPr>
          <p:cNvSpPr>
            <a:spLocks noGrp="1"/>
          </p:cNvSpPr>
          <p:nvPr>
            <p:ph type="ctrTitle"/>
          </p:nvPr>
        </p:nvSpPr>
        <p:spPr>
          <a:xfrm>
            <a:off x="6676567" y="1623060"/>
            <a:ext cx="5515433" cy="3611880"/>
          </a:xfrm>
          <a:solidFill>
            <a:schemeClr val="bg1"/>
          </a:solidFill>
        </p:spPr>
        <p:txBody>
          <a:bodyPr/>
          <a:lstStyle/>
          <a:p>
            <a:br>
              <a:rPr lang="it-IT" dirty="0"/>
            </a:br>
            <a:br>
              <a:rPr lang="it-IT" dirty="0"/>
            </a:br>
            <a:r>
              <a:rPr lang="it-IT" dirty="0"/>
              <a:t>Cosa ti fa venire in mente il termine «Sperimentazione»?</a:t>
            </a:r>
            <a:br>
              <a:rPr lang="it-IT" dirty="0"/>
            </a:br>
            <a:endParaRPr lang="it-IT" dirty="0"/>
          </a:p>
        </p:txBody>
      </p:sp>
      <p:sp>
        <p:nvSpPr>
          <p:cNvPr id="9" name="Sottotitolo 8">
            <a:extLst>
              <a:ext uri="{FF2B5EF4-FFF2-40B4-BE49-F238E27FC236}">
                <a16:creationId xmlns:a16="http://schemas.microsoft.com/office/drawing/2014/main" id="{22602610-1179-06B1-69AB-5776FDD0CFD0}"/>
              </a:ext>
            </a:extLst>
          </p:cNvPr>
          <p:cNvSpPr>
            <a:spLocks noGrp="1"/>
          </p:cNvSpPr>
          <p:nvPr>
            <p:ph type="subTitle" idx="1"/>
          </p:nvPr>
        </p:nvSpPr>
        <p:spPr/>
        <p:txBody>
          <a:bodyPr/>
          <a:lstStyle/>
          <a:p>
            <a:r>
              <a:rPr lang="it-IT" sz="2400" b="1" dirty="0">
                <a:solidFill>
                  <a:schemeClr val="tx1"/>
                </a:solidFill>
                <a:latin typeface="+mj-lt"/>
              </a:rPr>
              <a:t>Inquadra il QR-code e condividi con noi 3 parole</a:t>
            </a:r>
          </a:p>
        </p:txBody>
      </p:sp>
      <p:pic>
        <p:nvPicPr>
          <p:cNvPr id="3074" name="Picture 2">
            <a:extLst>
              <a:ext uri="{FF2B5EF4-FFF2-40B4-BE49-F238E27FC236}">
                <a16:creationId xmlns:a16="http://schemas.microsoft.com/office/drawing/2014/main" id="{25D5B2A1-4808-98FD-4AD1-77FD5BBD08A7}"/>
              </a:ext>
            </a:extLst>
          </p:cNvPr>
          <p:cNvPicPr>
            <a:picLocks noGrp="1" noChangeAspect="1" noChangeArrowheads="1"/>
          </p:cNvPicPr>
          <p:nvPr>
            <p:ph type="pic" sz="quarter" idx="10"/>
          </p:nvPr>
        </p:nvPicPr>
        <p:blipFill rotWithShape="1">
          <a:blip r:embed="rId2">
            <a:extLst>
              <a:ext uri="{28A0092B-C50C-407E-A947-70E740481C1C}">
                <a14:useLocalDpi xmlns:a14="http://schemas.microsoft.com/office/drawing/2010/main" val="0"/>
              </a:ext>
            </a:extLst>
          </a:blip>
          <a:srcRect l="6125" t="8373" r="6426" b="7442"/>
          <a:stretch/>
        </p:blipFill>
        <p:spPr bwMode="auto">
          <a:xfrm>
            <a:off x="0" y="914144"/>
            <a:ext cx="5996763" cy="5773479"/>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3">
            <a:extLst>
              <a:ext uri="{FF2B5EF4-FFF2-40B4-BE49-F238E27FC236}">
                <a16:creationId xmlns:a16="http://schemas.microsoft.com/office/drawing/2014/main" id="{999B2CB7-0BE1-C7E1-BB3E-A266A6C46B93}"/>
              </a:ext>
            </a:extLst>
          </p:cNvPr>
          <p:cNvSpPr txBox="1">
            <a:spLocks/>
          </p:cNvSpPr>
          <p:nvPr/>
        </p:nvSpPr>
        <p:spPr>
          <a:xfrm>
            <a:off x="2389614" y="170377"/>
            <a:ext cx="7412771" cy="823912"/>
          </a:xfrm>
          <a:prstGeom prst="rect">
            <a:avLst/>
          </a:prstGeom>
        </p:spPr>
        <p:txBody>
          <a:bodyP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dirty="0"/>
              <a:t>https://www.menti.com/al5itgisganz</a:t>
            </a:r>
          </a:p>
        </p:txBody>
      </p:sp>
    </p:spTree>
    <p:extLst>
      <p:ext uri="{BB962C8B-B14F-4D97-AF65-F5344CB8AC3E}">
        <p14:creationId xmlns:p14="http://schemas.microsoft.com/office/powerpoint/2010/main" val="6398977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CA326A68-189E-7950-3E88-904EDAE11AE3}"/>
              </a:ext>
            </a:extLst>
          </p:cNvPr>
          <p:cNvGraphicFramePr>
            <a:graphicFrameLocks noChangeAspect="1"/>
          </p:cNvGraphicFramePr>
          <p:nvPr>
            <p:custDataLst>
              <p:tags r:id="rId1"/>
            </p:custDataLst>
            <p:extLst>
              <p:ext uri="{D42A27DB-BD31-4B8C-83A1-F6EECF244321}">
                <p14:modId xmlns:p14="http://schemas.microsoft.com/office/powerpoint/2010/main" val="3203869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b="1" dirty="0"/>
              <a:t>Sperimentare è… rimettersi in gioco</a:t>
            </a:r>
          </a:p>
        </p:txBody>
      </p:sp>
      <p:pic>
        <p:nvPicPr>
          <p:cNvPr id="27" name="Segnaposto contenuto 79" descr="Libro aperto">
            <a:extLst>
              <a:ext uri="{FF2B5EF4-FFF2-40B4-BE49-F238E27FC236}">
                <a16:creationId xmlns:a16="http://schemas.microsoft.com/office/drawing/2014/main" id="{EBEE0E99-191F-4498-9399-4BA8BCD3E66F}"/>
              </a:ext>
            </a:extLst>
          </p:cNvPr>
          <p:cNvPicPr>
            <a:picLocks noGrp="1" noChangeAspect="1"/>
          </p:cNvPicPr>
          <p:nvPr>
            <p:ph sz="quarter" idx="13"/>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33186" y="1314866"/>
            <a:ext cx="548640" cy="548640"/>
          </a:xfrm>
        </p:spPr>
      </p:pic>
      <p:sp>
        <p:nvSpPr>
          <p:cNvPr id="16" name="Segnaposto testo 15" descr="contenuto diapositiva">
            <a:extLst>
              <a:ext uri="{FF2B5EF4-FFF2-40B4-BE49-F238E27FC236}">
                <a16:creationId xmlns:a16="http://schemas.microsoft.com/office/drawing/2014/main" id="{5336101E-D654-46D8-A983-BF46C5D86583}"/>
              </a:ext>
            </a:extLst>
          </p:cNvPr>
          <p:cNvSpPr>
            <a:spLocks noGrp="1"/>
          </p:cNvSpPr>
          <p:nvPr>
            <p:ph type="body" sz="quarter" idx="11"/>
          </p:nvPr>
        </p:nvSpPr>
        <p:spPr>
          <a:xfrm>
            <a:off x="1657350" y="1314866"/>
            <a:ext cx="8534400" cy="548640"/>
          </a:xfrm>
        </p:spPr>
        <p:txBody>
          <a:bodyPr rtlCol="0"/>
          <a:lstStyle/>
          <a:p>
            <a:pPr marL="0" indent="0" rtl="0">
              <a:buNone/>
            </a:pPr>
            <a:r>
              <a:rPr lang="it-IT" sz="1600" dirty="0"/>
              <a:t>Creare un ambiente dove sentirsi </a:t>
            </a:r>
            <a:r>
              <a:rPr lang="it-IT" sz="1600" b="1" dirty="0"/>
              <a:t>psicologicamente al sicuro</a:t>
            </a:r>
          </a:p>
          <a:p>
            <a:pPr>
              <a:buClr>
                <a:srgbClr val="B2606E"/>
              </a:buClr>
            </a:pPr>
            <a:r>
              <a:rPr lang="it-IT" dirty="0"/>
              <a:t>Rispetto</a:t>
            </a:r>
          </a:p>
          <a:p>
            <a:pPr>
              <a:buClr>
                <a:srgbClr val="B2606E"/>
              </a:buClr>
            </a:pPr>
            <a:r>
              <a:rPr lang="it-IT" dirty="0"/>
              <a:t>Empatia</a:t>
            </a:r>
          </a:p>
          <a:p>
            <a:pPr>
              <a:buClr>
                <a:srgbClr val="B2606E"/>
              </a:buClr>
            </a:pPr>
            <a:r>
              <a:rPr lang="it-IT" dirty="0"/>
              <a:t>Comportamento etico</a:t>
            </a:r>
          </a:p>
          <a:p>
            <a:pPr>
              <a:buClr>
                <a:srgbClr val="B2606E"/>
              </a:buClr>
            </a:pPr>
            <a:r>
              <a:rPr lang="it-IT" dirty="0"/>
              <a:t>Fiducia</a:t>
            </a:r>
          </a:p>
          <a:p>
            <a:pPr>
              <a:buClr>
                <a:srgbClr val="B2606E"/>
              </a:buClr>
            </a:pPr>
            <a:r>
              <a:rPr lang="it-IT" dirty="0"/>
              <a:t>Non temere di sbagliare</a:t>
            </a:r>
          </a:p>
          <a:p>
            <a:pPr marL="0" indent="0" rtl="0">
              <a:buNone/>
            </a:pPr>
            <a:endParaRPr lang="it-IT" dirty="0"/>
          </a:p>
          <a:p>
            <a:pPr marL="0" indent="0" rtl="0">
              <a:buNone/>
            </a:pPr>
            <a:r>
              <a:rPr lang="it-IT" sz="1600" dirty="0"/>
              <a:t>Creare un ambiente dove sentirsi </a:t>
            </a:r>
            <a:r>
              <a:rPr lang="it-IT" sz="1600" b="1" dirty="0"/>
              <a:t>motivati</a:t>
            </a:r>
            <a:r>
              <a:rPr lang="it-IT" sz="1600" dirty="0"/>
              <a:t> e </a:t>
            </a:r>
            <a:r>
              <a:rPr lang="it-IT" sz="1600" b="1" dirty="0"/>
              <a:t>responsabili</a:t>
            </a:r>
          </a:p>
          <a:p>
            <a:pPr>
              <a:buClr>
                <a:srgbClr val="B2606E"/>
              </a:buClr>
            </a:pPr>
            <a:r>
              <a:rPr lang="it-IT" u="sng" dirty="0"/>
              <a:t>Riconoscere le emozioni</a:t>
            </a:r>
            <a:r>
              <a:rPr lang="it-IT" dirty="0"/>
              <a:t>, ma non necessariamente dar loro seguito</a:t>
            </a:r>
          </a:p>
          <a:p>
            <a:pPr>
              <a:buClr>
                <a:srgbClr val="B2606E"/>
              </a:buClr>
            </a:pPr>
            <a:r>
              <a:rPr lang="it-IT" dirty="0"/>
              <a:t>Canalizzare le emozioni negative verso </a:t>
            </a:r>
            <a:r>
              <a:rPr lang="it-IT" u="sng" dirty="0"/>
              <a:t>emozioni positive</a:t>
            </a:r>
          </a:p>
          <a:p>
            <a:pPr>
              <a:buClr>
                <a:srgbClr val="B2606E"/>
              </a:buClr>
            </a:pPr>
            <a:r>
              <a:rPr lang="it-IT" dirty="0"/>
              <a:t>Guardarsi dentro per capire </a:t>
            </a:r>
            <a:r>
              <a:rPr lang="it-IT" u="sng" dirty="0"/>
              <a:t>come ci si sente </a:t>
            </a:r>
            <a:r>
              <a:rPr lang="it-IT" dirty="0"/>
              <a:t>ora</a:t>
            </a:r>
          </a:p>
          <a:p>
            <a:pPr>
              <a:buClr>
                <a:srgbClr val="B2606E"/>
              </a:buClr>
            </a:pPr>
            <a:r>
              <a:rPr lang="it-IT" dirty="0"/>
              <a:t>Riconosci i tuoi </a:t>
            </a:r>
            <a:r>
              <a:rPr lang="it-IT" u="sng" dirty="0"/>
              <a:t>successi</a:t>
            </a:r>
          </a:p>
          <a:p>
            <a:pPr>
              <a:buClr>
                <a:srgbClr val="B2606E"/>
              </a:buClr>
            </a:pPr>
            <a:r>
              <a:rPr lang="it-IT" u="sng" dirty="0"/>
              <a:t>Resisti</a:t>
            </a:r>
            <a:r>
              <a:rPr lang="it-IT" dirty="0"/>
              <a:t> all'urgenza di </a:t>
            </a:r>
            <a:r>
              <a:rPr lang="it-IT" u="sng" dirty="0"/>
              <a:t>compararti</a:t>
            </a:r>
            <a:r>
              <a:rPr lang="it-IT" dirty="0"/>
              <a:t> con gli altri</a:t>
            </a:r>
          </a:p>
          <a:p>
            <a:pPr>
              <a:buClr>
                <a:srgbClr val="B2606E"/>
              </a:buClr>
            </a:pPr>
            <a:r>
              <a:rPr lang="it-IT" dirty="0"/>
              <a:t>Focalizzati sugli </a:t>
            </a:r>
            <a:r>
              <a:rPr lang="it-IT" u="sng" dirty="0"/>
              <a:t>obiettivi</a:t>
            </a:r>
            <a:r>
              <a:rPr lang="it-IT" dirty="0"/>
              <a:t> e non su distrazioni minori</a:t>
            </a:r>
          </a:p>
          <a:p>
            <a:pPr>
              <a:buClr>
                <a:srgbClr val="B2606E"/>
              </a:buClr>
            </a:pPr>
            <a:r>
              <a:rPr lang="it-IT" dirty="0"/>
              <a:t>Mantieni i tuoi </a:t>
            </a:r>
            <a:r>
              <a:rPr lang="it-IT" u="sng" dirty="0"/>
              <a:t>impegni</a:t>
            </a:r>
          </a:p>
          <a:p>
            <a:pPr>
              <a:buClr>
                <a:srgbClr val="B2606E"/>
              </a:buClr>
            </a:pPr>
            <a:r>
              <a:rPr lang="it-IT" dirty="0"/>
              <a:t>Prenditi la </a:t>
            </a:r>
            <a:r>
              <a:rPr lang="it-IT" u="sng" dirty="0"/>
              <a:t>responsabilità</a:t>
            </a:r>
            <a:r>
              <a:rPr lang="it-IT" dirty="0"/>
              <a:t> delle tue azioni</a:t>
            </a:r>
          </a:p>
        </p:txBody>
      </p:sp>
      <p:pic>
        <p:nvPicPr>
          <p:cNvPr id="1026" name="Picture 2" descr="psych-safety-hybrid-workplace-influence-on-performance">
            <a:extLst>
              <a:ext uri="{FF2B5EF4-FFF2-40B4-BE49-F238E27FC236}">
                <a16:creationId xmlns:a16="http://schemas.microsoft.com/office/drawing/2014/main" id="{15405F08-BC15-E917-A7C3-CC4C3CAE772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6045" t="13420" r="7681" b="11149"/>
          <a:stretch/>
        </p:blipFill>
        <p:spPr bwMode="auto">
          <a:xfrm>
            <a:off x="6678661" y="2145863"/>
            <a:ext cx="4258783" cy="3902697"/>
          </a:xfrm>
          <a:prstGeom prst="rect">
            <a:avLst/>
          </a:prstGeom>
          <a:noFill/>
          <a:extLst>
            <a:ext uri="{909E8E84-426E-40DD-AFC4-6F175D3DCCD1}">
              <a14:hiddenFill xmlns:a14="http://schemas.microsoft.com/office/drawing/2010/main">
                <a:solidFill>
                  <a:srgbClr val="FFFFFF"/>
                </a:solidFill>
              </a14:hiddenFill>
            </a:ext>
          </a:extLst>
        </p:spPr>
      </p:pic>
      <p:sp>
        <p:nvSpPr>
          <p:cNvPr id="8" name="Sottotitolo 2">
            <a:extLst>
              <a:ext uri="{FF2B5EF4-FFF2-40B4-BE49-F238E27FC236}">
                <a16:creationId xmlns:a16="http://schemas.microsoft.com/office/drawing/2014/main" id="{53B10EBD-B722-A670-B31D-A914B7C2863D}"/>
              </a:ext>
            </a:extLst>
          </p:cNvPr>
          <p:cNvSpPr txBox="1">
            <a:spLocks/>
          </p:cNvSpPr>
          <p:nvPr/>
        </p:nvSpPr>
        <p:spPr>
          <a:xfrm>
            <a:off x="6567836" y="543433"/>
            <a:ext cx="4178808" cy="521208"/>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lang="en-US" sz="1800" kern="1200" dirty="0">
                <a:solidFill>
                  <a:srgbClr val="B2606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Creatività è inventare, sperimentare, crescere, assumersi dei rischi, rompere regole, fare errori e divertirsi.»</a:t>
            </a:r>
          </a:p>
          <a:p>
            <a:r>
              <a:rPr lang="it-IT" dirty="0"/>
              <a:t>(Mary </a:t>
            </a:r>
            <a:r>
              <a:rPr lang="it-IT" dirty="0" err="1"/>
              <a:t>Lou</a:t>
            </a:r>
            <a:r>
              <a:rPr lang="it-IT" dirty="0"/>
              <a:t> Cook)</a:t>
            </a:r>
          </a:p>
          <a:p>
            <a:endParaRPr lang="it-IT" dirty="0"/>
          </a:p>
        </p:txBody>
      </p:sp>
      <p:grpSp>
        <p:nvGrpSpPr>
          <p:cNvPr id="9" name="Gruppo 8">
            <a:extLst>
              <a:ext uri="{FF2B5EF4-FFF2-40B4-BE49-F238E27FC236}">
                <a16:creationId xmlns:a16="http://schemas.microsoft.com/office/drawing/2014/main" id="{FA8486A2-D8DD-1744-ABA7-BACED8523D28}"/>
              </a:ext>
            </a:extLst>
          </p:cNvPr>
          <p:cNvGrpSpPr/>
          <p:nvPr/>
        </p:nvGrpSpPr>
        <p:grpSpPr>
          <a:xfrm>
            <a:off x="8319103" y="205632"/>
            <a:ext cx="676275" cy="114300"/>
            <a:chOff x="9330846" y="5054600"/>
            <a:chExt cx="676275" cy="114300"/>
          </a:xfrm>
        </p:grpSpPr>
        <p:sp>
          <p:nvSpPr>
            <p:cNvPr id="10" name="Ovale 9">
              <a:extLst>
                <a:ext uri="{FF2B5EF4-FFF2-40B4-BE49-F238E27FC236}">
                  <a16:creationId xmlns:a16="http://schemas.microsoft.com/office/drawing/2014/main" id="{FD861DC9-8CB0-5ECC-5F6A-82D0B14E86E8}"/>
                </a:ext>
              </a:extLst>
            </p:cNvPr>
            <p:cNvSpPr/>
            <p:nvPr/>
          </p:nvSpPr>
          <p:spPr>
            <a:xfrm>
              <a:off x="933084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1" name="Ovale 10">
              <a:extLst>
                <a:ext uri="{FF2B5EF4-FFF2-40B4-BE49-F238E27FC236}">
                  <a16:creationId xmlns:a16="http://schemas.microsoft.com/office/drawing/2014/main" id="{42BA6763-D7CA-99D5-C970-32B2D2B54A3F}"/>
                </a:ext>
              </a:extLst>
            </p:cNvPr>
            <p:cNvSpPr/>
            <p:nvPr/>
          </p:nvSpPr>
          <p:spPr>
            <a:xfrm>
              <a:off x="951817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2" name="Ovale 11">
              <a:extLst>
                <a:ext uri="{FF2B5EF4-FFF2-40B4-BE49-F238E27FC236}">
                  <a16:creationId xmlns:a16="http://schemas.microsoft.com/office/drawing/2014/main" id="{E7F8B825-6BC0-EF9D-14BB-7DAE1FC86B0E}"/>
                </a:ext>
              </a:extLst>
            </p:cNvPr>
            <p:cNvSpPr/>
            <p:nvPr/>
          </p:nvSpPr>
          <p:spPr>
            <a:xfrm>
              <a:off x="970549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3" name="Ovale 12">
              <a:extLst>
                <a:ext uri="{FF2B5EF4-FFF2-40B4-BE49-F238E27FC236}">
                  <a16:creationId xmlns:a16="http://schemas.microsoft.com/office/drawing/2014/main" id="{14E77172-8615-801C-9228-CBFD13A0C846}"/>
                </a:ext>
              </a:extLst>
            </p:cNvPr>
            <p:cNvSpPr/>
            <p:nvPr/>
          </p:nvSpPr>
          <p:spPr>
            <a:xfrm>
              <a:off x="989282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Tree>
    <p:extLst>
      <p:ext uri="{BB962C8B-B14F-4D97-AF65-F5344CB8AC3E}">
        <p14:creationId xmlns:p14="http://schemas.microsoft.com/office/powerpoint/2010/main" val="40829030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088F4E09-78D5-2B51-D5EB-038A13A9A2C5}"/>
              </a:ext>
            </a:extLst>
          </p:cNvPr>
          <p:cNvGraphicFramePr>
            <a:graphicFrameLocks noChangeAspect="1"/>
          </p:cNvGraphicFramePr>
          <p:nvPr>
            <p:custDataLst>
              <p:tags r:id="rId1"/>
            </p:custDataLst>
            <p:extLst>
              <p:ext uri="{D42A27DB-BD31-4B8C-83A1-F6EECF244321}">
                <p14:modId xmlns:p14="http://schemas.microsoft.com/office/powerpoint/2010/main" val="664655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Segnaposto immagine 16" descr="primo piano di un orologio">
            <a:extLst>
              <a:ext uri="{FF2B5EF4-FFF2-40B4-BE49-F238E27FC236}">
                <a16:creationId xmlns:a16="http://schemas.microsoft.com/office/drawing/2014/main" id="{83B20FBB-8217-4FB0-BC35-E49BA9252554}"/>
              </a:ext>
            </a:extLst>
          </p:cNvPr>
          <p:cNvPicPr>
            <a:picLocks noGrp="1" noChangeAspect="1"/>
          </p:cNvPicPr>
          <p:nvPr>
            <p:ph type="pic" sz="quarter" idx="13"/>
          </p:nvPr>
        </p:nvPicPr>
        <p:blipFill rotWithShape="1">
          <a:blip r:embed="rId6" cstate="email">
            <a:extLst>
              <a:ext uri="{28A0092B-C50C-407E-A947-70E740481C1C}">
                <a14:useLocalDpi xmlns:a14="http://schemas.microsoft.com/office/drawing/2010/main"/>
              </a:ext>
            </a:extLst>
          </a:blip>
          <a:srcRect/>
          <a:stretch/>
        </p:blipFill>
        <p:spPr>
          <a:xfrm>
            <a:off x="6464300" y="0"/>
            <a:ext cx="5727700" cy="6858000"/>
          </a:xfrm>
        </p:spPr>
      </p:pic>
      <p:pic>
        <p:nvPicPr>
          <p:cNvPr id="5" name="Segnaposto immagine 4" descr="ragazza con cuffie, zaino e pila di libri e raccoglitori">
            <a:extLst>
              <a:ext uri="{FF2B5EF4-FFF2-40B4-BE49-F238E27FC236}">
                <a16:creationId xmlns:a16="http://schemas.microsoft.com/office/drawing/2014/main" id="{68B6FFC1-6A21-4DAC-82BC-F2966925C165}"/>
              </a:ext>
            </a:extLst>
          </p:cNvPr>
          <p:cNvPicPr>
            <a:picLocks noGrp="1" noChangeAspect="1"/>
          </p:cNvPicPr>
          <p:nvPr>
            <p:ph type="pic" sz="quarter" idx="12"/>
          </p:nvPr>
        </p:nvPicPr>
        <p:blipFill rotWithShape="1">
          <a:blip r:embed="rId7" cstate="email">
            <a:extLst>
              <a:ext uri="{28A0092B-C50C-407E-A947-70E740481C1C}">
                <a14:useLocalDpi xmlns:a14="http://schemas.microsoft.com/office/drawing/2010/main"/>
              </a:ext>
            </a:extLst>
          </a:blip>
          <a:srcRect/>
          <a:stretch/>
        </p:blipFill>
        <p:spPr>
          <a:xfrm>
            <a:off x="0" y="0"/>
            <a:ext cx="8087304" cy="6858000"/>
          </a:xfrm>
        </p:spPr>
      </p:pic>
      <p:grpSp>
        <p:nvGrpSpPr>
          <p:cNvPr id="9" name="Gruppo 8">
            <a:extLst>
              <a:ext uri="{FF2B5EF4-FFF2-40B4-BE49-F238E27FC236}">
                <a16:creationId xmlns:a16="http://schemas.microsoft.com/office/drawing/2014/main" id="{E7969C14-1078-4610-9BC5-74119C9B87BE}"/>
              </a:ext>
              <a:ext uri="{C183D7F6-B498-43B3-948B-1728B52AA6E4}">
                <adec:decorative xmlns:adec="http://schemas.microsoft.com/office/drawing/2017/decorative" val="1"/>
              </a:ext>
            </a:extLst>
          </p:cNvPr>
          <p:cNvGrpSpPr/>
          <p:nvPr/>
        </p:nvGrpSpPr>
        <p:grpSpPr>
          <a:xfrm>
            <a:off x="0" y="3808320"/>
            <a:ext cx="7833208" cy="2547440"/>
            <a:chOff x="0" y="3808320"/>
            <a:chExt cx="7833208" cy="2547440"/>
          </a:xfrm>
        </p:grpSpPr>
        <p:sp>
          <p:nvSpPr>
            <p:cNvPr id="10" name="Figura a mano libera: Forma 9">
              <a:extLst>
                <a:ext uri="{FF2B5EF4-FFF2-40B4-BE49-F238E27FC236}">
                  <a16:creationId xmlns:a16="http://schemas.microsoft.com/office/drawing/2014/main" id="{E531D018-EFA3-4346-AB80-7CE436393D9E}"/>
                </a:ext>
                <a:ext uri="{C183D7F6-B498-43B3-948B-1728B52AA6E4}">
                  <adec:decorative xmlns:adec="http://schemas.microsoft.com/office/drawing/2017/decorative" val="1"/>
                </a:ext>
              </a:extLst>
            </p:cNvPr>
            <p:cNvSpPr/>
            <p:nvPr/>
          </p:nvSpPr>
          <p:spPr>
            <a:xfrm>
              <a:off x="0" y="3808320"/>
              <a:ext cx="7833208" cy="2547440"/>
            </a:xfrm>
            <a:custGeom>
              <a:avLst/>
              <a:gdLst>
                <a:gd name="connsiteX0" fmla="*/ 0 w 7833208"/>
                <a:gd name="connsiteY0" fmla="*/ 0 h 2547440"/>
                <a:gd name="connsiteX1" fmla="*/ 7833208 w 7833208"/>
                <a:gd name="connsiteY1" fmla="*/ 0 h 2547440"/>
                <a:gd name="connsiteX2" fmla="*/ 7135846 w 7833208"/>
                <a:gd name="connsiteY2" fmla="*/ 2547440 h 2547440"/>
                <a:gd name="connsiteX3" fmla="*/ 0 w 7833208"/>
                <a:gd name="connsiteY3" fmla="*/ 2547440 h 2547440"/>
              </a:gdLst>
              <a:ahLst/>
              <a:cxnLst>
                <a:cxn ang="0">
                  <a:pos x="connsiteX0" y="connsiteY0"/>
                </a:cxn>
                <a:cxn ang="0">
                  <a:pos x="connsiteX1" y="connsiteY1"/>
                </a:cxn>
                <a:cxn ang="0">
                  <a:pos x="connsiteX2" y="connsiteY2"/>
                </a:cxn>
                <a:cxn ang="0">
                  <a:pos x="connsiteX3" y="connsiteY3"/>
                </a:cxn>
              </a:cxnLst>
              <a:rect l="l" t="t" r="r" b="b"/>
              <a:pathLst>
                <a:path w="7833208" h="2547440">
                  <a:moveTo>
                    <a:pt x="0" y="0"/>
                  </a:moveTo>
                  <a:lnTo>
                    <a:pt x="7833208" y="0"/>
                  </a:lnTo>
                  <a:lnTo>
                    <a:pt x="7135846" y="2547440"/>
                  </a:lnTo>
                  <a:lnTo>
                    <a:pt x="0" y="2547440"/>
                  </a:ln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11" name="Figura a mano libera: Forma 10">
              <a:extLst>
                <a:ext uri="{FF2B5EF4-FFF2-40B4-BE49-F238E27FC236}">
                  <a16:creationId xmlns:a16="http://schemas.microsoft.com/office/drawing/2014/main" id="{FA9D7AC8-80D5-49DC-A585-FCFFA6CA4B66}"/>
                </a:ext>
                <a:ext uri="{C183D7F6-B498-43B3-948B-1728B52AA6E4}">
                  <adec:decorative xmlns:adec="http://schemas.microsoft.com/office/drawing/2017/decorative" val="1"/>
                </a:ext>
              </a:extLst>
            </p:cNvPr>
            <p:cNvSpPr/>
            <p:nvPr/>
          </p:nvSpPr>
          <p:spPr>
            <a:xfrm>
              <a:off x="1" y="3808320"/>
              <a:ext cx="7692571" cy="2547440"/>
            </a:xfrm>
            <a:custGeom>
              <a:avLst/>
              <a:gdLst>
                <a:gd name="connsiteX0" fmla="*/ 0 w 7692571"/>
                <a:gd name="connsiteY0" fmla="*/ 0 h 2547440"/>
                <a:gd name="connsiteX1" fmla="*/ 7692571 w 7692571"/>
                <a:gd name="connsiteY1" fmla="*/ 0 h 2547440"/>
                <a:gd name="connsiteX2" fmla="*/ 6995209 w 7692571"/>
                <a:gd name="connsiteY2" fmla="*/ 2547440 h 2547440"/>
                <a:gd name="connsiteX3" fmla="*/ 0 w 7692571"/>
                <a:gd name="connsiteY3" fmla="*/ 2547440 h 2547440"/>
              </a:gdLst>
              <a:ahLst/>
              <a:cxnLst>
                <a:cxn ang="0">
                  <a:pos x="connsiteX0" y="connsiteY0"/>
                </a:cxn>
                <a:cxn ang="0">
                  <a:pos x="connsiteX1" y="connsiteY1"/>
                </a:cxn>
                <a:cxn ang="0">
                  <a:pos x="connsiteX2" y="connsiteY2"/>
                </a:cxn>
                <a:cxn ang="0">
                  <a:pos x="connsiteX3" y="connsiteY3"/>
                </a:cxn>
              </a:cxnLst>
              <a:rect l="l" t="t" r="r" b="b"/>
              <a:pathLst>
                <a:path w="7692571" h="2547440">
                  <a:moveTo>
                    <a:pt x="0" y="0"/>
                  </a:moveTo>
                  <a:lnTo>
                    <a:pt x="7692571" y="0"/>
                  </a:lnTo>
                  <a:lnTo>
                    <a:pt x="6995209" y="2547440"/>
                  </a:lnTo>
                  <a:lnTo>
                    <a:pt x="0" y="2547440"/>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grpSp>
      <p:sp>
        <p:nvSpPr>
          <p:cNvPr id="33" name="Titolo 32" descr="titolo">
            <a:extLst>
              <a:ext uri="{FF2B5EF4-FFF2-40B4-BE49-F238E27FC236}">
                <a16:creationId xmlns:a16="http://schemas.microsoft.com/office/drawing/2014/main" id="{18CDD97B-6E25-4FB4-B239-493E54AA0830}"/>
              </a:ext>
            </a:extLst>
          </p:cNvPr>
          <p:cNvSpPr>
            <a:spLocks noGrp="1"/>
          </p:cNvSpPr>
          <p:nvPr>
            <p:ph type="title"/>
          </p:nvPr>
        </p:nvSpPr>
        <p:spPr/>
        <p:txBody>
          <a:bodyPr vert="horz" rtlCol="0"/>
          <a:lstStyle/>
          <a:p>
            <a:pPr rtl="0"/>
            <a:r>
              <a:rPr lang="it-IT" sz="3600" dirty="0">
                <a:solidFill>
                  <a:schemeClr val="bg1"/>
                </a:solidFill>
              </a:rPr>
              <a:t>4.</a:t>
            </a:r>
            <a:br>
              <a:rPr lang="it-IT" sz="3600" dirty="0">
                <a:solidFill>
                  <a:schemeClr val="bg1"/>
                </a:solidFill>
              </a:rPr>
            </a:br>
            <a:r>
              <a:rPr lang="it-IT" sz="3600" dirty="0">
                <a:solidFill>
                  <a:schemeClr val="bg1"/>
                </a:solidFill>
              </a:rPr>
              <a:t>La gestione del progetto</a:t>
            </a:r>
          </a:p>
        </p:txBody>
      </p:sp>
      <p:sp>
        <p:nvSpPr>
          <p:cNvPr id="34" name="Segnaposto testo 33" descr="contenuto diapositiva">
            <a:extLst>
              <a:ext uri="{FF2B5EF4-FFF2-40B4-BE49-F238E27FC236}">
                <a16:creationId xmlns:a16="http://schemas.microsoft.com/office/drawing/2014/main" id="{859D862E-AE8E-482F-9E23-3C096FF03E54}"/>
              </a:ext>
            </a:extLst>
          </p:cNvPr>
          <p:cNvSpPr>
            <a:spLocks noGrp="1"/>
          </p:cNvSpPr>
          <p:nvPr>
            <p:ph type="body" sz="quarter" idx="11"/>
          </p:nvPr>
        </p:nvSpPr>
        <p:spPr>
          <a:xfrm>
            <a:off x="785586" y="5127174"/>
            <a:ext cx="5005614" cy="1005840"/>
          </a:xfrm>
        </p:spPr>
        <p:txBody>
          <a:bodyPr rtlCol="0"/>
          <a:lstStyle/>
          <a:p>
            <a:pPr marL="0" indent="0" rtl="0">
              <a:buNone/>
            </a:pPr>
            <a:r>
              <a:rPr lang="it-IT" dirty="0">
                <a:solidFill>
                  <a:schemeClr val="bg1"/>
                </a:solidFill>
              </a:rPr>
              <a:t>Il Project Management Institute (PMI) definisce come project management “combinazione di uomini, risorse e fattori organizzativi, riuniti temporaneamente per raggiungere obiettivi unici, definiti, con vincoli di tempo, costi, qualità e con risorse limitate”.</a:t>
            </a:r>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2" name="Segnaposto numero diapositiva 5" descr="numero diapositiva">
            <a:extLst>
              <a:ext uri="{FF2B5EF4-FFF2-40B4-BE49-F238E27FC236}">
                <a16:creationId xmlns:a16="http://schemas.microsoft.com/office/drawing/2014/main" id="{C2827A65-383D-4D68-9F51-F76C2370BF65}"/>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15</a:t>
            </a:fld>
            <a:endParaRPr lang="it-IT" sz="1200">
              <a:solidFill>
                <a:schemeClr val="bg1"/>
              </a:solidFill>
            </a:endParaRPr>
          </a:p>
        </p:txBody>
      </p:sp>
    </p:spTree>
    <p:extLst>
      <p:ext uri="{BB962C8B-B14F-4D97-AF65-F5344CB8AC3E}">
        <p14:creationId xmlns:p14="http://schemas.microsoft.com/office/powerpoint/2010/main" val="10695191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786D56B9-96B8-2A80-91C1-60FE5D4CBBF5}"/>
              </a:ext>
            </a:extLst>
          </p:cNvPr>
          <p:cNvGraphicFramePr>
            <a:graphicFrameLocks noChangeAspect="1"/>
          </p:cNvGraphicFramePr>
          <p:nvPr>
            <p:custDataLst>
              <p:tags r:id="rId1"/>
            </p:custDataLst>
            <p:extLst>
              <p:ext uri="{D42A27DB-BD31-4B8C-83A1-F6EECF244321}">
                <p14:modId xmlns:p14="http://schemas.microsoft.com/office/powerpoint/2010/main" val="2416059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ottotitolo 11" descr="sottotitolo">
            <a:extLst>
              <a:ext uri="{FF2B5EF4-FFF2-40B4-BE49-F238E27FC236}">
                <a16:creationId xmlns:a16="http://schemas.microsoft.com/office/drawing/2014/main" id="{B28A8D9C-5123-4D2B-9272-016EF90E0E50}"/>
              </a:ext>
            </a:extLst>
          </p:cNvPr>
          <p:cNvSpPr>
            <a:spLocks noGrp="1"/>
          </p:cNvSpPr>
          <p:nvPr>
            <p:ph type="subTitle" idx="1"/>
          </p:nvPr>
        </p:nvSpPr>
        <p:spPr>
          <a:xfrm>
            <a:off x="7388704" y="5364409"/>
            <a:ext cx="4178808" cy="1201830"/>
          </a:xfrm>
        </p:spPr>
        <p:txBody>
          <a:bodyPr rtlCol="0"/>
          <a:lstStyle/>
          <a:p>
            <a:pPr rtl="0"/>
            <a:r>
              <a:rPr lang="it-IT" dirty="0"/>
              <a:t>«Il momento migliore per piantare un albero è </a:t>
            </a:r>
            <a:r>
              <a:rPr lang="it-IT" sz="1200" dirty="0">
                <a:sym typeface="Wingdings" panose="05000000000000000000" pitchFamily="2" charset="2"/>
              </a:rPr>
              <a:t></a:t>
            </a:r>
            <a:r>
              <a:rPr lang="it-IT" dirty="0"/>
              <a:t>vent'anni fa</a:t>
            </a:r>
            <a:r>
              <a:rPr lang="it-IT" sz="1200" dirty="0">
                <a:sym typeface="Wingdings" panose="05000000000000000000" pitchFamily="2" charset="2"/>
              </a:rPr>
              <a:t></a:t>
            </a:r>
            <a:r>
              <a:rPr lang="it-IT" dirty="0"/>
              <a:t>. Il secondo momento migliore è adesso.»</a:t>
            </a:r>
          </a:p>
          <a:p>
            <a:pPr rtl="0"/>
            <a:r>
              <a:rPr lang="it-IT" dirty="0"/>
              <a:t>(Confucio)</a:t>
            </a:r>
          </a:p>
        </p:txBody>
      </p:sp>
      <p:pic>
        <p:nvPicPr>
          <p:cNvPr id="14" name="Segnaposto immagine 13" descr="stanza con sedie rosse davanti a una finestra">
            <a:extLst>
              <a:ext uri="{FF2B5EF4-FFF2-40B4-BE49-F238E27FC236}">
                <a16:creationId xmlns:a16="http://schemas.microsoft.com/office/drawing/2014/main" id="{E983D85E-34D8-430D-875F-7EBB69A6B73E}"/>
              </a:ext>
            </a:extLst>
          </p:cNvPr>
          <p:cNvPicPr>
            <a:picLocks noGrp="1" noChangeAspect="1"/>
          </p:cNvPicPr>
          <p:nvPr>
            <p:ph type="pic" sz="quarter" idx="10"/>
          </p:nvPr>
        </p:nvPicPr>
        <p:blipFill rotWithShape="1">
          <a:blip r:embed="rId6" cstate="email">
            <a:extLst>
              <a:ext uri="{28A0092B-C50C-407E-A947-70E740481C1C}">
                <a14:useLocalDpi xmlns:a14="http://schemas.microsoft.com/office/drawing/2010/main"/>
              </a:ext>
            </a:extLst>
          </a:blip>
          <a:srcRect/>
          <a:stretch/>
        </p:blipFill>
        <p:spPr/>
      </p:pic>
      <p:grpSp>
        <p:nvGrpSpPr>
          <p:cNvPr id="4" name="Gruppo 3">
            <a:extLst>
              <a:ext uri="{FF2B5EF4-FFF2-40B4-BE49-F238E27FC236}">
                <a16:creationId xmlns:a16="http://schemas.microsoft.com/office/drawing/2014/main" id="{EB664AAE-5AE9-41D7-8346-002B9F445323}"/>
              </a:ext>
              <a:ext uri="{C183D7F6-B498-43B3-948B-1728B52AA6E4}">
                <adec:decorative xmlns:adec="http://schemas.microsoft.com/office/drawing/2017/decorative" val="1"/>
              </a:ext>
            </a:extLst>
          </p:cNvPr>
          <p:cNvGrpSpPr/>
          <p:nvPr/>
        </p:nvGrpSpPr>
        <p:grpSpPr>
          <a:xfrm>
            <a:off x="-3740" y="0"/>
            <a:ext cx="6208649" cy="6858000"/>
            <a:chOff x="-3740" y="0"/>
            <a:chExt cx="6208649" cy="6858000"/>
          </a:xfrm>
        </p:grpSpPr>
        <p:sp>
          <p:nvSpPr>
            <p:cNvPr id="11" name="Figura a mano libera: Forma 10">
              <a:extLst>
                <a:ext uri="{FF2B5EF4-FFF2-40B4-BE49-F238E27FC236}">
                  <a16:creationId xmlns:a16="http://schemas.microsoft.com/office/drawing/2014/main" id="{927C3783-B800-4093-BB0D-D5AEF08C3B59}"/>
                </a:ext>
              </a:extLst>
            </p:cNvPr>
            <p:cNvSpPr/>
            <p:nvPr/>
          </p:nvSpPr>
          <p:spPr>
            <a:xfrm>
              <a:off x="-3740" y="0"/>
              <a:ext cx="6208649" cy="6858000"/>
            </a:xfrm>
            <a:custGeom>
              <a:avLst/>
              <a:gdLst>
                <a:gd name="connsiteX0" fmla="*/ 0 w 6208649"/>
                <a:gd name="connsiteY0" fmla="*/ 0 h 6858000"/>
                <a:gd name="connsiteX1" fmla="*/ 6208649 w 6208649"/>
                <a:gd name="connsiteY1" fmla="*/ 0 h 6858000"/>
                <a:gd name="connsiteX2" fmla="*/ 2737815 w 6208649"/>
                <a:gd name="connsiteY2" fmla="*/ 6858000 h 6858000"/>
                <a:gd name="connsiteX3" fmla="*/ 0 w 620864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08649" h="6858000">
                  <a:moveTo>
                    <a:pt x="0" y="0"/>
                  </a:moveTo>
                  <a:lnTo>
                    <a:pt x="6208649" y="0"/>
                  </a:lnTo>
                  <a:lnTo>
                    <a:pt x="2737815" y="6858000"/>
                  </a:lnTo>
                  <a:lnTo>
                    <a:pt x="0" y="6858000"/>
                  </a:lnTo>
                  <a:close/>
                </a:path>
              </a:pathLst>
            </a:custGeom>
            <a:solidFill>
              <a:schemeClr val="bg1">
                <a:lumMod val="95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9" name="Rettangolo 8">
              <a:extLst>
                <a:ext uri="{FF2B5EF4-FFF2-40B4-BE49-F238E27FC236}">
                  <a16:creationId xmlns:a16="http://schemas.microsoft.com/office/drawing/2014/main" id="{B576E978-A841-4A4F-B153-CC369D9391D3}"/>
                </a:ext>
              </a:extLst>
            </p:cNvPr>
            <p:cNvSpPr/>
            <p:nvPr/>
          </p:nvSpPr>
          <p:spPr>
            <a:xfrm>
              <a:off x="1451429" y="0"/>
              <a:ext cx="3222172" cy="6858000"/>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10" name="CasellaDiTesto 9">
            <a:extLst>
              <a:ext uri="{FF2B5EF4-FFF2-40B4-BE49-F238E27FC236}">
                <a16:creationId xmlns:a16="http://schemas.microsoft.com/office/drawing/2014/main" id="{91FD0D2B-0193-D30D-561D-F9674D90E20E}"/>
              </a:ext>
            </a:extLst>
          </p:cNvPr>
          <p:cNvSpPr txBox="1"/>
          <p:nvPr/>
        </p:nvSpPr>
        <p:spPr>
          <a:xfrm>
            <a:off x="7209693" y="1292469"/>
            <a:ext cx="4536830" cy="3046988"/>
          </a:xfrm>
          <a:prstGeom prst="rect">
            <a:avLst/>
          </a:prstGeom>
          <a:noFill/>
        </p:spPr>
        <p:txBody>
          <a:bodyPr wrap="square" rtlCol="0">
            <a:spAutoFit/>
          </a:bodyPr>
          <a:lstStyle/>
          <a:p>
            <a:r>
              <a:rPr lang="it-IT" sz="3600" dirty="0">
                <a:latin typeface="+mj-lt"/>
              </a:rPr>
              <a:t>Le fasi di un progetto</a:t>
            </a:r>
          </a:p>
          <a:p>
            <a:endParaRPr lang="it-IT" sz="3600" dirty="0">
              <a:latin typeface="+mj-lt"/>
            </a:endParaRPr>
          </a:p>
          <a:p>
            <a:pPr marL="514350" indent="-514350">
              <a:buClr>
                <a:srgbClr val="B2606E"/>
              </a:buClr>
              <a:buFont typeface="+mj-lt"/>
              <a:buAutoNum type="arabicPeriod"/>
            </a:pPr>
            <a:r>
              <a:rPr lang="it-IT" sz="2400" dirty="0">
                <a:latin typeface="+mj-lt"/>
              </a:rPr>
              <a:t>Definire</a:t>
            </a:r>
          </a:p>
          <a:p>
            <a:pPr marL="514350" indent="-514350">
              <a:buClr>
                <a:srgbClr val="B2606E"/>
              </a:buClr>
              <a:buFont typeface="+mj-lt"/>
              <a:buAutoNum type="arabicPeriod"/>
            </a:pPr>
            <a:r>
              <a:rPr lang="it-IT" sz="2400" dirty="0">
                <a:latin typeface="+mj-lt"/>
              </a:rPr>
              <a:t>Misurare</a:t>
            </a:r>
          </a:p>
          <a:p>
            <a:pPr marL="514350" indent="-514350">
              <a:buClr>
                <a:srgbClr val="B2606E"/>
              </a:buClr>
              <a:buFont typeface="+mj-lt"/>
              <a:buAutoNum type="arabicPeriod"/>
            </a:pPr>
            <a:r>
              <a:rPr lang="it-IT" sz="2400" dirty="0">
                <a:latin typeface="+mj-lt"/>
              </a:rPr>
              <a:t>Analizzare</a:t>
            </a:r>
          </a:p>
          <a:p>
            <a:pPr marL="514350" indent="-514350">
              <a:buClr>
                <a:srgbClr val="B2606E"/>
              </a:buClr>
              <a:buFont typeface="+mj-lt"/>
              <a:buAutoNum type="arabicPeriod"/>
            </a:pPr>
            <a:r>
              <a:rPr lang="it-IT" sz="2400" dirty="0">
                <a:latin typeface="+mj-lt"/>
              </a:rPr>
              <a:t>Implementare e monitorare</a:t>
            </a:r>
          </a:p>
          <a:p>
            <a:pPr marL="514350" indent="-514350">
              <a:buClr>
                <a:srgbClr val="B2606E"/>
              </a:buClr>
              <a:buFont typeface="+mj-lt"/>
              <a:buAutoNum type="arabicPeriod"/>
            </a:pPr>
            <a:r>
              <a:rPr lang="it-IT" sz="2400" dirty="0">
                <a:latin typeface="+mj-lt"/>
              </a:rPr>
              <a:t>Controllare e chiudere</a:t>
            </a:r>
          </a:p>
        </p:txBody>
      </p:sp>
    </p:spTree>
    <p:extLst>
      <p:ext uri="{BB962C8B-B14F-4D97-AF65-F5344CB8AC3E}">
        <p14:creationId xmlns:p14="http://schemas.microsoft.com/office/powerpoint/2010/main" val="35233446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01FCCB21-B85B-EE77-1988-F1A83BE48A87}"/>
              </a:ext>
            </a:extLst>
          </p:cNvPr>
          <p:cNvGraphicFramePr>
            <a:graphicFrameLocks noChangeAspect="1"/>
          </p:cNvGraphicFramePr>
          <p:nvPr>
            <p:custDataLst>
              <p:tags r:id="rId1"/>
            </p:custDataLst>
            <p:extLst>
              <p:ext uri="{D42A27DB-BD31-4B8C-83A1-F6EECF244321}">
                <p14:modId xmlns:p14="http://schemas.microsoft.com/office/powerpoint/2010/main" val="1896158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descr="ragazzo che cammina con uno zaino e una bici">
            <a:extLst>
              <a:ext uri="{FF2B5EF4-FFF2-40B4-BE49-F238E27FC236}">
                <a16:creationId xmlns:a16="http://schemas.microsoft.com/office/drawing/2014/main" id="{3111B687-3781-4457-A624-86311FC69082}"/>
              </a:ext>
            </a:extLst>
          </p:cNvPr>
          <p:cNvPicPr>
            <a:picLocks noGrp="1" noChangeAspect="1"/>
          </p:cNvPicPr>
          <p:nvPr>
            <p:ph type="pic" sz="quarter" idx="10"/>
          </p:nvPr>
        </p:nvPicPr>
        <p:blipFill rotWithShape="1">
          <a:blip r:embed="rId6" cstate="email">
            <a:extLst>
              <a:ext uri="{28A0092B-C50C-407E-A947-70E740481C1C}">
                <a14:useLocalDpi xmlns:a14="http://schemas.microsoft.com/office/drawing/2010/main"/>
              </a:ext>
            </a:extLst>
          </a:blip>
          <a:srcRect/>
          <a:stretch/>
        </p:blipFill>
        <p:spPr>
          <a:xfrm>
            <a:off x="6836125" y="0"/>
            <a:ext cx="5355875" cy="6858000"/>
          </a:xfrm>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568857"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 uri="{C183D7F6-B498-43B3-948B-1728B52AA6E4}">
                  <adec:decorative xmlns:adec="http://schemas.microsoft.com/office/drawing/2017/decorative" val="1"/>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dirty="0"/>
              <a:t>1. Definire</a:t>
            </a:r>
          </a:p>
        </p:txBody>
      </p:sp>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p:txBody>
          <a:bodyPr rtlCol="0"/>
          <a:lstStyle/>
          <a:p>
            <a:pPr rtl="0"/>
            <a:r>
              <a:rPr lang="it-IT" dirty="0"/>
              <a:t>I progetti nascono: per rispondere a un nuovo o a un mutato </a:t>
            </a:r>
            <a:r>
              <a:rPr lang="it-IT" b="1" dirty="0"/>
              <a:t>bisogno</a:t>
            </a:r>
            <a:r>
              <a:rPr lang="it-IT" dirty="0"/>
              <a:t>, per  risolvere un </a:t>
            </a:r>
            <a:r>
              <a:rPr lang="it-IT" b="1" dirty="0"/>
              <a:t>problema</a:t>
            </a:r>
            <a:r>
              <a:rPr lang="it-IT" dirty="0"/>
              <a:t> operativo che determina risultati non soddisfacenti</a:t>
            </a:r>
          </a:p>
          <a:p>
            <a:pPr rtl="0"/>
            <a:r>
              <a:rPr lang="it-IT" dirty="0"/>
              <a:t>«Definire» è la fase in cui si decide se far partire il progetto e se ne </a:t>
            </a:r>
            <a:r>
              <a:rPr lang="it-IT" b="1" dirty="0"/>
              <a:t>determinano</a:t>
            </a:r>
            <a:r>
              <a:rPr lang="it-IT" dirty="0"/>
              <a:t> gli obiettivi</a:t>
            </a:r>
          </a:p>
          <a:p>
            <a:pPr rtl="0"/>
            <a:r>
              <a:rPr lang="it-IT" dirty="0"/>
              <a:t>E’ opportuno quindi identificare e descrivere i </a:t>
            </a:r>
            <a:r>
              <a:rPr lang="it-IT" b="1" dirty="0"/>
              <a:t>bisogni</a:t>
            </a:r>
            <a:r>
              <a:rPr lang="it-IT" dirty="0"/>
              <a:t> , spiegare qual è l’idea con la  quale si intende risolvere un determinato problema (motivazione) e fornire una  </a:t>
            </a:r>
            <a:r>
              <a:rPr lang="it-IT" dirty="0" err="1"/>
              <a:t>macroprogettazione</a:t>
            </a:r>
            <a:r>
              <a:rPr lang="it-IT" dirty="0"/>
              <a:t> di massima del progetto (obiettivi generali, vincoli, chi impatta e chi è impattato, target di riferimento, argomento, tempi, luoghi, costi, ecc.)</a:t>
            </a:r>
          </a:p>
        </p:txBody>
      </p:sp>
      <p:sp>
        <p:nvSpPr>
          <p:cNvPr id="24" name="Segnaposto testo 23" descr="blocco di contenuto 2">
            <a:extLst>
              <a:ext uri="{FF2B5EF4-FFF2-40B4-BE49-F238E27FC236}">
                <a16:creationId xmlns:a16="http://schemas.microsoft.com/office/drawing/2014/main" id="{C3930A4E-1302-4AC9-86A3-C4E8AF186ED8}"/>
              </a:ext>
            </a:extLst>
          </p:cNvPr>
          <p:cNvSpPr>
            <a:spLocks noGrp="1"/>
          </p:cNvSpPr>
          <p:nvPr>
            <p:ph type="body" sz="quarter" idx="12"/>
          </p:nvPr>
        </p:nvSpPr>
        <p:spPr/>
        <p:txBody>
          <a:bodyPr rtlCol="0"/>
          <a:lstStyle/>
          <a:p>
            <a:pPr marL="285750" indent="-285750" rtl="0">
              <a:buClr>
                <a:srgbClr val="B2606E"/>
              </a:buClr>
              <a:buFont typeface="Arial" panose="020B0604020202020204" pitchFamily="34" charset="0"/>
              <a:buChar char="•"/>
            </a:pPr>
            <a:r>
              <a:rPr lang="it-IT" dirty="0"/>
              <a:t>Strumento per valutare e scegliere fra diversi progetti e formalizzarli</a:t>
            </a:r>
          </a:p>
          <a:p>
            <a:pPr marL="285750" indent="-285750">
              <a:buClr>
                <a:srgbClr val="B2606E"/>
              </a:buClr>
              <a:buFont typeface="Arial" panose="020B0604020202020204" pitchFamily="34" charset="0"/>
              <a:buChar char="•"/>
            </a:pPr>
            <a:r>
              <a:rPr lang="it-IT" dirty="0"/>
              <a:t>Pareto 80-20</a:t>
            </a:r>
          </a:p>
          <a:p>
            <a:pPr marL="285750" indent="-285750" rtl="0">
              <a:buClr>
                <a:srgbClr val="B2606E"/>
              </a:buClr>
              <a:buFont typeface="Arial" panose="020B0604020202020204" pitchFamily="34" charset="0"/>
              <a:buChar char="•"/>
            </a:pPr>
            <a:r>
              <a:rPr lang="it-IT" dirty="0"/>
              <a:t>Analisi degli stakeholders (coloro che impattano e hanno impatti sul progetto)</a:t>
            </a:r>
          </a:p>
          <a:p>
            <a:pPr marL="285750" indent="-285750" rtl="0">
              <a:buClr>
                <a:srgbClr val="B2606E"/>
              </a:buClr>
              <a:buFont typeface="Arial" panose="020B0604020202020204" pitchFamily="34" charset="0"/>
              <a:buChar char="•"/>
            </a:pPr>
            <a:r>
              <a:rPr lang="it-IT" dirty="0"/>
              <a:t>5 WHYS</a:t>
            </a:r>
          </a:p>
          <a:p>
            <a:pPr marL="285750" indent="-285750" rtl="0">
              <a:buClr>
                <a:srgbClr val="B2606E"/>
              </a:buClr>
              <a:buFont typeface="Arial" panose="020B0604020202020204" pitchFamily="34" charset="0"/>
              <a:buChar char="•"/>
            </a:pPr>
            <a:r>
              <a:rPr lang="it-IT" dirty="0"/>
              <a:t>SWOT</a:t>
            </a:r>
          </a:p>
          <a:p>
            <a:pPr rtl="0"/>
            <a:endParaRPr lang="it-IT" dirty="0"/>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7" name="Segnaposto numero diapositiva 5" descr="Numero diapositiva">
            <a:extLst>
              <a:ext uri="{FF2B5EF4-FFF2-40B4-BE49-F238E27FC236}">
                <a16:creationId xmlns:a16="http://schemas.microsoft.com/office/drawing/2014/main" id="{79161314-0A22-4109-A2B1-41E87EFE1E18}"/>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17</a:t>
            </a:fld>
            <a:endParaRPr lang="it-IT" sz="1200">
              <a:solidFill>
                <a:schemeClr val="bg1"/>
              </a:solidFill>
            </a:endParaRPr>
          </a:p>
        </p:txBody>
      </p:sp>
      <p:sp>
        <p:nvSpPr>
          <p:cNvPr id="8" name="Ovale 7">
            <a:extLst>
              <a:ext uri="{FF2B5EF4-FFF2-40B4-BE49-F238E27FC236}">
                <a16:creationId xmlns:a16="http://schemas.microsoft.com/office/drawing/2014/main" id="{EB096C08-80E9-93C1-4351-D038BBC88C1C}"/>
              </a:ext>
              <a:ext uri="{C183D7F6-B498-43B3-948B-1728B52AA6E4}">
                <adec:decorative xmlns:adec="http://schemas.microsoft.com/office/drawing/2017/decorative" val="1"/>
              </a:ext>
            </a:extLst>
          </p:cNvPr>
          <p:cNvSpPr/>
          <p:nvPr/>
        </p:nvSpPr>
        <p:spPr>
          <a:xfrm>
            <a:off x="1336469" y="1728000"/>
            <a:ext cx="683282" cy="683282"/>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t-IT" sz="1463">
              <a:solidFill>
                <a:srgbClr val="FFFFFF"/>
              </a:solidFill>
              <a:latin typeface="Avenir Next LT Pro Light"/>
            </a:endParaRPr>
          </a:p>
        </p:txBody>
      </p:sp>
      <p:pic>
        <p:nvPicPr>
          <p:cNvPr id="12" name="Segnaposto immagine 69" descr="Attrezzi per giardinaggio">
            <a:extLst>
              <a:ext uri="{FF2B5EF4-FFF2-40B4-BE49-F238E27FC236}">
                <a16:creationId xmlns:a16="http://schemas.microsoft.com/office/drawing/2014/main" id="{63E8EEF6-4B0D-2D62-725E-7205D5C202F6}"/>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549199" y="1548000"/>
            <a:ext cx="721023" cy="889000"/>
          </a:xfrm>
          <a:prstGeom prst="rect">
            <a:avLst/>
          </a:prstGeom>
        </p:spPr>
      </p:pic>
      <p:sp>
        <p:nvSpPr>
          <p:cNvPr id="18" name="Ovale 17">
            <a:extLst>
              <a:ext uri="{FF2B5EF4-FFF2-40B4-BE49-F238E27FC236}">
                <a16:creationId xmlns:a16="http://schemas.microsoft.com/office/drawing/2014/main" id="{F5E02282-9054-206C-6EA7-B7259A88A957}"/>
              </a:ext>
              <a:ext uri="{C183D7F6-B498-43B3-948B-1728B52AA6E4}">
                <adec:decorative xmlns:adec="http://schemas.microsoft.com/office/drawing/2017/decorative" val="1"/>
              </a:ext>
            </a:extLst>
          </p:cNvPr>
          <p:cNvSpPr/>
          <p:nvPr/>
        </p:nvSpPr>
        <p:spPr>
          <a:xfrm>
            <a:off x="5282366" y="1728000"/>
            <a:ext cx="683282" cy="683282"/>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t-IT" sz="1463">
              <a:solidFill>
                <a:srgbClr val="FFFFFF"/>
              </a:solidFill>
              <a:latin typeface="Avenir Next LT Pro Light"/>
            </a:endParaRPr>
          </a:p>
        </p:txBody>
      </p:sp>
      <p:pic>
        <p:nvPicPr>
          <p:cNvPr id="36" name="Segnaposto contenuto 35" descr="Chiave inglese contorno">
            <a:extLst>
              <a:ext uri="{FF2B5EF4-FFF2-40B4-BE49-F238E27FC236}">
                <a16:creationId xmlns:a16="http://schemas.microsoft.com/office/drawing/2014/main" id="{A960174C-A9DE-472D-BF1C-B13108BD70B7}"/>
              </a:ext>
            </a:extLst>
          </p:cNvPr>
          <p:cNvPicPr>
            <a:picLocks noGrp="1" noChangeAspect="1"/>
          </p:cNvPicPr>
          <p:nvPr>
            <p:ph sz="quarter" idx="14"/>
          </p:nvPr>
        </p:nvPicPr>
        <p:blipFill>
          <a:blip r:embed="rId9">
            <a:extLst>
              <a:ext uri="{96DAC541-7B7A-43D3-8B79-37D633B846F1}">
                <asvg:svgBlip xmlns:asvg="http://schemas.microsoft.com/office/drawing/2016/SVG/main" r:embed="rId10"/>
              </a:ext>
            </a:extLst>
          </a:blip>
          <a:srcRect/>
          <a:stretch/>
        </p:blipFill>
        <p:spPr>
          <a:xfrm>
            <a:off x="5531222" y="1760234"/>
            <a:ext cx="548640" cy="548640"/>
          </a:xfrm>
        </p:spPr>
      </p:pic>
    </p:spTree>
    <p:extLst>
      <p:ext uri="{BB962C8B-B14F-4D97-AF65-F5344CB8AC3E}">
        <p14:creationId xmlns:p14="http://schemas.microsoft.com/office/powerpoint/2010/main" val="21188231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E3AF67BE-F674-A31F-9F46-553E152B5C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59" imgH="360" progId="TCLayout.ActiveDocument.1">
                  <p:embed/>
                </p:oleObj>
              </mc:Choice>
              <mc:Fallback>
                <p:oleObj name="Diapositiva think-cell" r:id="rId3" imgW="359" imgH="360" progId="TCLayout.ActiveDocument.1">
                  <p:embed/>
                  <p:pic>
                    <p:nvPicPr>
                      <p:cNvPr id="8" name="Oggetto 7" hidden="1">
                        <a:extLst>
                          <a:ext uri="{FF2B5EF4-FFF2-40B4-BE49-F238E27FC236}">
                            <a16:creationId xmlns:a16="http://schemas.microsoft.com/office/drawing/2014/main" id="{E3AF67BE-F674-A31F-9F46-553E152B5C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122" name="Picture 2">
            <a:extLst>
              <a:ext uri="{FF2B5EF4-FFF2-40B4-BE49-F238E27FC236}">
                <a16:creationId xmlns:a16="http://schemas.microsoft.com/office/drawing/2014/main" id="{077B8FF6-183B-30B1-4F1F-975EEF18CDA7}"/>
              </a:ext>
            </a:extLst>
          </p:cNvPr>
          <p:cNvPicPr>
            <a:picLocks noChangeArrowheads="1"/>
          </p:cNvPicPr>
          <p:nvPr/>
        </p:nvPicPr>
        <p:blipFill rotWithShape="1">
          <a:blip r:embed="rId5">
            <a:extLst>
              <a:ext uri="{28A0092B-C50C-407E-A947-70E740481C1C}">
                <a14:useLocalDpi xmlns:a14="http://schemas.microsoft.com/office/drawing/2010/main" val="0"/>
              </a:ext>
            </a:extLst>
          </a:blip>
          <a:srcRect b="3142"/>
          <a:stretch/>
        </p:blipFill>
        <p:spPr bwMode="auto">
          <a:xfrm>
            <a:off x="7603248" y="0"/>
            <a:ext cx="30348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a:extLst>
              <a:ext uri="{FF2B5EF4-FFF2-40B4-BE49-F238E27FC236}">
                <a16:creationId xmlns:a16="http://schemas.microsoft.com/office/drawing/2014/main" id="{CDECCF0B-5091-6428-51FE-D4375D99E786}"/>
              </a:ext>
            </a:extLst>
          </p:cNvPr>
          <p:cNvPicPr>
            <a:picLocks noChangeArrowheads="1"/>
          </p:cNvPicPr>
          <p:nvPr/>
        </p:nvPicPr>
        <p:blipFill rotWithShape="1">
          <a:blip r:embed="rId6">
            <a:extLst>
              <a:ext uri="{28A0092B-C50C-407E-A947-70E740481C1C}">
                <a14:useLocalDpi xmlns:a14="http://schemas.microsoft.com/office/drawing/2010/main" val="0"/>
              </a:ext>
            </a:extLst>
          </a:blip>
          <a:srcRect b="3295"/>
          <a:stretch/>
        </p:blipFill>
        <p:spPr bwMode="auto">
          <a:xfrm>
            <a:off x="3981624" y="0"/>
            <a:ext cx="30348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a:extLst>
              <a:ext uri="{FF2B5EF4-FFF2-40B4-BE49-F238E27FC236}">
                <a16:creationId xmlns:a16="http://schemas.microsoft.com/office/drawing/2014/main" id="{1D807C31-FC82-22EA-F9F6-F8F4B14D0290}"/>
              </a:ext>
            </a:extLst>
          </p:cNvPr>
          <p:cNvPicPr>
            <a:picLocks noChangeArrowheads="1"/>
          </p:cNvPicPr>
          <p:nvPr/>
        </p:nvPicPr>
        <p:blipFill rotWithShape="1">
          <a:blip r:embed="rId7">
            <a:extLst>
              <a:ext uri="{28A0092B-C50C-407E-A947-70E740481C1C}">
                <a14:useLocalDpi xmlns:a14="http://schemas.microsoft.com/office/drawing/2010/main" val="0"/>
              </a:ext>
            </a:extLst>
          </a:blip>
          <a:srcRect b="2682"/>
          <a:stretch/>
        </p:blipFill>
        <p:spPr bwMode="auto">
          <a:xfrm>
            <a:off x="360000" y="-1"/>
            <a:ext cx="30348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088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magine 10">
            <a:extLst>
              <a:ext uri="{FF2B5EF4-FFF2-40B4-BE49-F238E27FC236}">
                <a16:creationId xmlns:a16="http://schemas.microsoft.com/office/drawing/2014/main" id="{0C0DA952-3F60-7912-480C-08E671B055C9}"/>
              </a:ext>
            </a:extLst>
          </p:cNvPr>
          <p:cNvPicPr>
            <a:picLocks noChangeAspect="1"/>
          </p:cNvPicPr>
          <p:nvPr/>
        </p:nvPicPr>
        <p:blipFill>
          <a:blip r:embed="rId2"/>
          <a:stretch>
            <a:fillRect/>
          </a:stretch>
        </p:blipFill>
        <p:spPr>
          <a:xfrm>
            <a:off x="0" y="0"/>
            <a:ext cx="6053821" cy="6858000"/>
          </a:xfrm>
          <a:prstGeom prst="rect">
            <a:avLst/>
          </a:prstGeom>
        </p:spPr>
      </p:pic>
      <p:pic>
        <p:nvPicPr>
          <p:cNvPr id="12" name="Immagine 11">
            <a:extLst>
              <a:ext uri="{FF2B5EF4-FFF2-40B4-BE49-F238E27FC236}">
                <a16:creationId xmlns:a16="http://schemas.microsoft.com/office/drawing/2014/main" id="{28E03AD7-DCA1-3381-456C-D8EA0697E9AE}"/>
              </a:ext>
            </a:extLst>
          </p:cNvPr>
          <p:cNvPicPr>
            <a:picLocks noChangeAspect="1"/>
          </p:cNvPicPr>
          <p:nvPr/>
        </p:nvPicPr>
        <p:blipFill>
          <a:blip r:embed="rId3"/>
          <a:stretch>
            <a:fillRect/>
          </a:stretch>
        </p:blipFill>
        <p:spPr>
          <a:xfrm>
            <a:off x="6375400" y="1746250"/>
            <a:ext cx="5816600" cy="3752955"/>
          </a:xfrm>
          <a:prstGeom prst="rect">
            <a:avLst/>
          </a:prstGeom>
        </p:spPr>
      </p:pic>
    </p:spTree>
    <p:extLst>
      <p:ext uri="{BB962C8B-B14F-4D97-AF65-F5344CB8AC3E}">
        <p14:creationId xmlns:p14="http://schemas.microsoft.com/office/powerpoint/2010/main" val="27018580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o 13" descr="sequenza temporale">
            <a:extLst>
              <a:ext uri="{FF2B5EF4-FFF2-40B4-BE49-F238E27FC236}">
                <a16:creationId xmlns:a16="http://schemas.microsoft.com/office/drawing/2014/main" id="{83532B1B-6F65-43E8-93A9-7C8923238520}"/>
              </a:ext>
            </a:extLst>
          </p:cNvPr>
          <p:cNvGrpSpPr/>
          <p:nvPr/>
        </p:nvGrpSpPr>
        <p:grpSpPr>
          <a:xfrm>
            <a:off x="228601" y="485723"/>
            <a:ext cx="11633199" cy="6372277"/>
            <a:chOff x="228601" y="485723"/>
            <a:chExt cx="11633199" cy="6372277"/>
          </a:xfrm>
        </p:grpSpPr>
        <p:grpSp>
          <p:nvGrpSpPr>
            <p:cNvPr id="12" name="Gruppo 11">
              <a:extLst>
                <a:ext uri="{FF2B5EF4-FFF2-40B4-BE49-F238E27FC236}">
                  <a16:creationId xmlns:a16="http://schemas.microsoft.com/office/drawing/2014/main" id="{76FAB540-C491-4F6D-A6FE-A267705EEA5B}"/>
                </a:ext>
              </a:extLst>
            </p:cNvPr>
            <p:cNvGrpSpPr/>
            <p:nvPr/>
          </p:nvGrpSpPr>
          <p:grpSpPr>
            <a:xfrm rot="5400000" flipH="1">
              <a:off x="10012548" y="2066363"/>
              <a:ext cx="1691026" cy="2007478"/>
              <a:chOff x="6415077" y="1171530"/>
              <a:chExt cx="1890380" cy="1890380"/>
            </a:xfrm>
          </p:grpSpPr>
          <p:sp>
            <p:nvSpPr>
              <p:cNvPr id="10" name="Arco 9">
                <a:extLst>
                  <a:ext uri="{FF2B5EF4-FFF2-40B4-BE49-F238E27FC236}">
                    <a16:creationId xmlns:a16="http://schemas.microsoft.com/office/drawing/2014/main" id="{8065E7CB-23F1-435F-AF44-714D3ED3AEEC}"/>
                  </a:ext>
                </a:extLst>
              </p:cNvPr>
              <p:cNvSpPr/>
              <p:nvPr/>
            </p:nvSpPr>
            <p:spPr>
              <a:xfrm>
                <a:off x="6415077" y="1171530"/>
                <a:ext cx="1890380" cy="1890380"/>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sp>
            <p:nvSpPr>
              <p:cNvPr id="11" name="Arco 10">
                <a:extLst>
                  <a:ext uri="{FF2B5EF4-FFF2-40B4-BE49-F238E27FC236}">
                    <a16:creationId xmlns:a16="http://schemas.microsoft.com/office/drawing/2014/main" id="{35E4FBCD-37DC-40E0-9AC8-B2466900D8BE}"/>
                  </a:ext>
                </a:extLst>
              </p:cNvPr>
              <p:cNvSpPr/>
              <p:nvPr/>
            </p:nvSpPr>
            <p:spPr>
              <a:xfrm flipH="1">
                <a:off x="6415077" y="1171530"/>
                <a:ext cx="1890380" cy="1890380"/>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grpSp>
        <p:grpSp>
          <p:nvGrpSpPr>
            <p:cNvPr id="9" name="Gruppo 8">
              <a:extLst>
                <a:ext uri="{FF2B5EF4-FFF2-40B4-BE49-F238E27FC236}">
                  <a16:creationId xmlns:a16="http://schemas.microsoft.com/office/drawing/2014/main" id="{7B75C7B1-766D-4711-8CB1-1D3AD4142E3F}"/>
                </a:ext>
              </a:extLst>
            </p:cNvPr>
            <p:cNvGrpSpPr/>
            <p:nvPr/>
          </p:nvGrpSpPr>
          <p:grpSpPr>
            <a:xfrm>
              <a:off x="228601" y="485723"/>
              <a:ext cx="10649366" cy="6372277"/>
              <a:chOff x="228601" y="485723"/>
              <a:chExt cx="10649366" cy="6372277"/>
            </a:xfrm>
          </p:grpSpPr>
          <p:sp>
            <p:nvSpPr>
              <p:cNvPr id="7" name="Arco 6">
                <a:extLst>
                  <a:ext uri="{FF2B5EF4-FFF2-40B4-BE49-F238E27FC236}">
                    <a16:creationId xmlns:a16="http://schemas.microsoft.com/office/drawing/2014/main" id="{AF71C86D-5144-4D25-B6A2-918DC4160A1F}"/>
                  </a:ext>
                </a:extLst>
              </p:cNvPr>
              <p:cNvSpPr/>
              <p:nvPr/>
            </p:nvSpPr>
            <p:spPr>
              <a:xfrm rot="16200000" flipH="1">
                <a:off x="1107510" y="454768"/>
                <a:ext cx="1737608" cy="1799518"/>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grpSp>
            <p:nvGrpSpPr>
              <p:cNvPr id="8" name="Gruppo 7">
                <a:extLst>
                  <a:ext uri="{FF2B5EF4-FFF2-40B4-BE49-F238E27FC236}">
                    <a16:creationId xmlns:a16="http://schemas.microsoft.com/office/drawing/2014/main" id="{A2D2F24B-3BD6-4803-B697-1C078E89C915}"/>
                  </a:ext>
                </a:extLst>
              </p:cNvPr>
              <p:cNvGrpSpPr/>
              <p:nvPr/>
            </p:nvGrpSpPr>
            <p:grpSpPr>
              <a:xfrm>
                <a:off x="228601" y="2223331"/>
                <a:ext cx="10649366" cy="4634669"/>
                <a:chOff x="228601" y="2223331"/>
                <a:chExt cx="10649366" cy="4634669"/>
              </a:xfrm>
            </p:grpSpPr>
            <p:grpSp>
              <p:nvGrpSpPr>
                <p:cNvPr id="46" name="Gruppo 45">
                  <a:extLst>
                    <a:ext uri="{FF2B5EF4-FFF2-40B4-BE49-F238E27FC236}">
                      <a16:creationId xmlns:a16="http://schemas.microsoft.com/office/drawing/2014/main" id="{5CFEE95A-087F-4F9C-876F-9F92595763B6}"/>
                    </a:ext>
                  </a:extLst>
                </p:cNvPr>
                <p:cNvGrpSpPr/>
                <p:nvPr/>
              </p:nvGrpSpPr>
              <p:grpSpPr>
                <a:xfrm rot="16200000" flipH="1">
                  <a:off x="386827" y="3756863"/>
                  <a:ext cx="1691026" cy="2007478"/>
                  <a:chOff x="6415077" y="1171530"/>
                  <a:chExt cx="1890380" cy="1890380"/>
                </a:xfrm>
              </p:grpSpPr>
              <p:sp>
                <p:nvSpPr>
                  <p:cNvPr id="47" name="Arco 46">
                    <a:extLst>
                      <a:ext uri="{FF2B5EF4-FFF2-40B4-BE49-F238E27FC236}">
                        <a16:creationId xmlns:a16="http://schemas.microsoft.com/office/drawing/2014/main" id="{0BEF374B-D633-4C49-A916-320DB8732251}"/>
                      </a:ext>
                    </a:extLst>
                  </p:cNvPr>
                  <p:cNvSpPr/>
                  <p:nvPr/>
                </p:nvSpPr>
                <p:spPr>
                  <a:xfrm>
                    <a:off x="6415077" y="1171530"/>
                    <a:ext cx="1890380" cy="1890380"/>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sp>
                <p:nvSpPr>
                  <p:cNvPr id="48" name="Arco 47">
                    <a:extLst>
                      <a:ext uri="{FF2B5EF4-FFF2-40B4-BE49-F238E27FC236}">
                        <a16:creationId xmlns:a16="http://schemas.microsoft.com/office/drawing/2014/main" id="{7EA3C2CD-982C-4EAD-AF27-8F363D90EDB9}"/>
                      </a:ext>
                    </a:extLst>
                  </p:cNvPr>
                  <p:cNvSpPr/>
                  <p:nvPr/>
                </p:nvSpPr>
                <p:spPr>
                  <a:xfrm flipH="1">
                    <a:off x="6415077" y="1171530"/>
                    <a:ext cx="1890380" cy="1890380"/>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grpSp>
            <p:sp>
              <p:nvSpPr>
                <p:cNvPr id="13" name="Arco 12">
                  <a:extLst>
                    <a:ext uri="{FF2B5EF4-FFF2-40B4-BE49-F238E27FC236}">
                      <a16:creationId xmlns:a16="http://schemas.microsoft.com/office/drawing/2014/main" id="{5507F1A1-1EB3-4835-A723-6E0CC155369B}"/>
                    </a:ext>
                  </a:extLst>
                </p:cNvPr>
                <p:cNvSpPr/>
                <p:nvPr/>
              </p:nvSpPr>
              <p:spPr>
                <a:xfrm rot="5400000" flipH="1">
                  <a:off x="3114163" y="5332299"/>
                  <a:ext cx="1251885" cy="1799518"/>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cxnSp>
              <p:nvCxnSpPr>
                <p:cNvPr id="26" name="Connettore diritto 25">
                  <a:extLst>
                    <a:ext uri="{FF2B5EF4-FFF2-40B4-BE49-F238E27FC236}">
                      <a16:creationId xmlns:a16="http://schemas.microsoft.com/office/drawing/2014/main" id="{A91AC131-C2D0-4567-9511-EA65CA7EE241}"/>
                    </a:ext>
                  </a:extLst>
                </p:cNvPr>
                <p:cNvCxnSpPr>
                  <a:cxnSpLocks/>
                </p:cNvCxnSpPr>
                <p:nvPr/>
              </p:nvCxnSpPr>
              <p:spPr>
                <a:xfrm flipH="1">
                  <a:off x="1941052" y="2223331"/>
                  <a:ext cx="893691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onnettore diritto 58">
                  <a:extLst>
                    <a:ext uri="{FF2B5EF4-FFF2-40B4-BE49-F238E27FC236}">
                      <a16:creationId xmlns:a16="http://schemas.microsoft.com/office/drawing/2014/main" id="{CA0A091F-631C-4120-B174-67D45A6A138C}"/>
                    </a:ext>
                  </a:extLst>
                </p:cNvPr>
                <p:cNvCxnSpPr>
                  <a:cxnSpLocks/>
                </p:cNvCxnSpPr>
                <p:nvPr/>
              </p:nvCxnSpPr>
              <p:spPr>
                <a:xfrm flipH="1">
                  <a:off x="1216868" y="3915088"/>
                  <a:ext cx="96610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Connettore diritto 60">
                  <a:extLst>
                    <a:ext uri="{FF2B5EF4-FFF2-40B4-BE49-F238E27FC236}">
                      <a16:creationId xmlns:a16="http://schemas.microsoft.com/office/drawing/2014/main" id="{9BF890A1-93BF-4879-9ED9-E25DBB7E6053}"/>
                    </a:ext>
                  </a:extLst>
                </p:cNvPr>
                <p:cNvCxnSpPr>
                  <a:cxnSpLocks/>
                  <a:stCxn id="13" idx="2"/>
                </p:cNvCxnSpPr>
                <p:nvPr/>
              </p:nvCxnSpPr>
              <p:spPr>
                <a:xfrm flipH="1" flipV="1">
                  <a:off x="1216868" y="5605864"/>
                  <a:ext cx="2523238" cy="25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grpSp>
      <p:sp>
        <p:nvSpPr>
          <p:cNvPr id="38" name="Ovale 37">
            <a:extLst>
              <a:ext uri="{FF2B5EF4-FFF2-40B4-BE49-F238E27FC236}">
                <a16:creationId xmlns:a16="http://schemas.microsoft.com/office/drawing/2014/main" id="{28C2D536-BF2F-4ADA-9927-03778193AC3A}"/>
              </a:ext>
              <a:ext uri="{C183D7F6-B498-43B3-948B-1728B52AA6E4}">
                <adec:decorative xmlns:adec="http://schemas.microsoft.com/office/drawing/2017/decorative" val="1"/>
              </a:ext>
            </a:extLst>
          </p:cNvPr>
          <p:cNvSpPr/>
          <p:nvPr/>
        </p:nvSpPr>
        <p:spPr>
          <a:xfrm>
            <a:off x="4917482" y="4272898"/>
            <a:ext cx="840963" cy="840963"/>
          </a:xfrm>
          <a:prstGeom prst="ellipse">
            <a:avLst/>
          </a:prstGeom>
          <a:solidFill>
            <a:schemeClr val="accent1">
              <a:lumMod val="20000"/>
              <a:lumOff val="8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36" name="Ovale 35">
            <a:extLst>
              <a:ext uri="{FF2B5EF4-FFF2-40B4-BE49-F238E27FC236}">
                <a16:creationId xmlns:a16="http://schemas.microsoft.com/office/drawing/2014/main" id="{1952C023-9B06-4B43-B644-CD03A018598E}"/>
              </a:ext>
              <a:ext uri="{C183D7F6-B498-43B3-948B-1728B52AA6E4}">
                <adec:decorative xmlns:adec="http://schemas.microsoft.com/office/drawing/2017/decorative" val="1"/>
              </a:ext>
            </a:extLst>
          </p:cNvPr>
          <p:cNvSpPr/>
          <p:nvPr/>
        </p:nvSpPr>
        <p:spPr>
          <a:xfrm>
            <a:off x="1238105" y="4272898"/>
            <a:ext cx="840963" cy="840963"/>
          </a:xfrm>
          <a:prstGeom prst="ellipse">
            <a:avLst/>
          </a:prstGeom>
          <a:solidFill>
            <a:schemeClr val="accent3">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34" name="Ovale 33">
            <a:extLst>
              <a:ext uri="{FF2B5EF4-FFF2-40B4-BE49-F238E27FC236}">
                <a16:creationId xmlns:a16="http://schemas.microsoft.com/office/drawing/2014/main" id="{10046627-DACE-4A75-A48B-34B6934A809A}"/>
              </a:ext>
              <a:ext uri="{C183D7F6-B498-43B3-948B-1728B52AA6E4}">
                <adec:decorative xmlns:adec="http://schemas.microsoft.com/office/drawing/2017/decorative" val="1"/>
              </a:ext>
            </a:extLst>
          </p:cNvPr>
          <p:cNvSpPr/>
          <p:nvPr/>
        </p:nvSpPr>
        <p:spPr>
          <a:xfrm>
            <a:off x="1238105" y="2477008"/>
            <a:ext cx="840963" cy="840963"/>
          </a:xfrm>
          <a:prstGeom prst="ellipse">
            <a:avLst/>
          </a:prstGeom>
          <a:solidFill>
            <a:schemeClr val="accent4">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68" name="Ovale 67">
            <a:extLst>
              <a:ext uri="{FF2B5EF4-FFF2-40B4-BE49-F238E27FC236}">
                <a16:creationId xmlns:a16="http://schemas.microsoft.com/office/drawing/2014/main" id="{696BE8D8-6B81-4D92-9557-CDC354533457}"/>
              </a:ext>
              <a:ext uri="{C183D7F6-B498-43B3-948B-1728B52AA6E4}">
                <adec:decorative xmlns:adec="http://schemas.microsoft.com/office/drawing/2017/decorative" val="1"/>
              </a:ext>
            </a:extLst>
          </p:cNvPr>
          <p:cNvSpPr/>
          <p:nvPr/>
        </p:nvSpPr>
        <p:spPr>
          <a:xfrm>
            <a:off x="4917482" y="2477008"/>
            <a:ext cx="840963" cy="840963"/>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32" name="Ovale 31">
            <a:extLst>
              <a:ext uri="{FF2B5EF4-FFF2-40B4-BE49-F238E27FC236}">
                <a16:creationId xmlns:a16="http://schemas.microsoft.com/office/drawing/2014/main" id="{F32EFD43-D203-45CD-B41D-8569A214C88F}"/>
              </a:ext>
              <a:ext uri="{C183D7F6-B498-43B3-948B-1728B52AA6E4}">
                <adec:decorative xmlns:adec="http://schemas.microsoft.com/office/drawing/2017/decorative" val="1"/>
              </a:ext>
            </a:extLst>
          </p:cNvPr>
          <p:cNvSpPr/>
          <p:nvPr/>
        </p:nvSpPr>
        <p:spPr>
          <a:xfrm>
            <a:off x="8417382" y="2477008"/>
            <a:ext cx="840963" cy="840963"/>
          </a:xfrm>
          <a:prstGeom prst="ellipse">
            <a:avLst/>
          </a:prstGeom>
          <a:solidFill>
            <a:schemeClr val="accent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30" name="Ovale 29">
            <a:extLst>
              <a:ext uri="{FF2B5EF4-FFF2-40B4-BE49-F238E27FC236}">
                <a16:creationId xmlns:a16="http://schemas.microsoft.com/office/drawing/2014/main" id="{78DEBD90-486A-4B0E-9DEA-51F8849718D2}"/>
              </a:ext>
              <a:ext uri="{C183D7F6-B498-43B3-948B-1728B52AA6E4}">
                <adec:decorative xmlns:adec="http://schemas.microsoft.com/office/drawing/2017/decorative" val="1"/>
              </a:ext>
            </a:extLst>
          </p:cNvPr>
          <p:cNvSpPr/>
          <p:nvPr/>
        </p:nvSpPr>
        <p:spPr>
          <a:xfrm>
            <a:off x="8417382" y="4272898"/>
            <a:ext cx="840963" cy="840963"/>
          </a:xfrm>
          <a:prstGeom prst="ellipse">
            <a:avLst/>
          </a:prstGeom>
          <a:solidFill>
            <a:schemeClr val="accent6">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53" name="Ovale 52">
            <a:extLst>
              <a:ext uri="{FF2B5EF4-FFF2-40B4-BE49-F238E27FC236}">
                <a16:creationId xmlns:a16="http://schemas.microsoft.com/office/drawing/2014/main" id="{39CF61DF-01D9-4149-8DB8-30F8646B49F5}"/>
              </a:ext>
              <a:ext uri="{C183D7F6-B498-43B3-948B-1728B52AA6E4}">
                <adec:decorative xmlns:adec="http://schemas.microsoft.com/office/drawing/2017/decorative" val="1"/>
              </a:ext>
            </a:extLst>
          </p:cNvPr>
          <p:cNvSpPr/>
          <p:nvPr/>
        </p:nvSpPr>
        <p:spPr>
          <a:xfrm>
            <a:off x="612935" y="329409"/>
            <a:ext cx="840963" cy="840963"/>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3" name="Ovale 92">
            <a:extLst>
              <a:ext uri="{FF2B5EF4-FFF2-40B4-BE49-F238E27FC236}">
                <a16:creationId xmlns:a16="http://schemas.microsoft.com/office/drawing/2014/main" id="{06632AC2-657E-4F91-AC5F-70B8B019FC50}"/>
              </a:ext>
              <a:ext uri="{C183D7F6-B498-43B3-948B-1728B52AA6E4}">
                <adec:decorative xmlns:adec="http://schemas.microsoft.com/office/drawing/2017/decorative" val="1"/>
              </a:ext>
            </a:extLst>
          </p:cNvPr>
          <p:cNvSpPr/>
          <p:nvPr/>
        </p:nvSpPr>
        <p:spPr>
          <a:xfrm>
            <a:off x="4917482" y="5750417"/>
            <a:ext cx="840963" cy="840963"/>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pic>
        <p:nvPicPr>
          <p:cNvPr id="72" name="Segnaposto immagine 71" descr="Sole coperto">
            <a:extLst>
              <a:ext uri="{FF2B5EF4-FFF2-40B4-BE49-F238E27FC236}">
                <a16:creationId xmlns:a16="http://schemas.microsoft.com/office/drawing/2014/main" id="{2D43C573-2E71-4CAC-A3C5-3114CB43C8D2}"/>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p:pic>
      <p:sp>
        <p:nvSpPr>
          <p:cNvPr id="4" name="Segnaposto testo 3">
            <a:extLst>
              <a:ext uri="{FF2B5EF4-FFF2-40B4-BE49-F238E27FC236}">
                <a16:creationId xmlns:a16="http://schemas.microsoft.com/office/drawing/2014/main" id="{265F5D27-BEFB-4DBA-8F9B-A036D4DFCB85}"/>
              </a:ext>
            </a:extLst>
          </p:cNvPr>
          <p:cNvSpPr>
            <a:spLocks noGrp="1"/>
          </p:cNvSpPr>
          <p:nvPr>
            <p:ph type="body" sz="quarter" idx="18"/>
          </p:nvPr>
        </p:nvSpPr>
        <p:spPr/>
        <p:txBody>
          <a:bodyPr rtlCol="0"/>
          <a:lstStyle/>
          <a:p>
            <a:r>
              <a:rPr lang="it-IT" dirty="0"/>
              <a:t>Flow</a:t>
            </a:r>
          </a:p>
        </p:txBody>
      </p:sp>
      <p:pic>
        <p:nvPicPr>
          <p:cNvPr id="25" name="Segnaposto immagine 24" descr="Innaffiare la pianta">
            <a:extLst>
              <a:ext uri="{FF2B5EF4-FFF2-40B4-BE49-F238E27FC236}">
                <a16:creationId xmlns:a16="http://schemas.microsoft.com/office/drawing/2014/main" id="{FAC4BB91-D618-4F7B-BA9F-5BF71832AF80}"/>
              </a:ext>
            </a:extLst>
          </p:cNvPr>
          <p:cNvPicPr>
            <a:picLocks noGrp="1" noChangeAspect="1"/>
          </p:cNvPicPr>
          <p:nvPr>
            <p:ph type="pic" sz="quarter" idx="19"/>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p:pic>
      <p:pic>
        <p:nvPicPr>
          <p:cNvPr id="74" name="Segnaposto immagine 73" descr="Pacchetto dei semi">
            <a:extLst>
              <a:ext uri="{FF2B5EF4-FFF2-40B4-BE49-F238E27FC236}">
                <a16:creationId xmlns:a16="http://schemas.microsoft.com/office/drawing/2014/main" id="{EA2B3F76-947B-47E6-8EA0-1A572AAAFC6F}"/>
              </a:ext>
            </a:extLst>
          </p:cNvPr>
          <p:cNvPicPr>
            <a:picLocks noGrp="1" noChangeAspect="1"/>
          </p:cNvPicPr>
          <p:nvPr>
            <p:ph type="pic" sz="quarter" idx="20"/>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p:pic>
      <p:pic>
        <p:nvPicPr>
          <p:cNvPr id="78" name="Segnaposto immagine 77" descr="Seme di germoglio">
            <a:extLst>
              <a:ext uri="{FF2B5EF4-FFF2-40B4-BE49-F238E27FC236}">
                <a16:creationId xmlns:a16="http://schemas.microsoft.com/office/drawing/2014/main" id="{5C6E9D5B-BD9D-41D9-B675-0E36089573A4}"/>
              </a:ext>
            </a:extLst>
          </p:cNvPr>
          <p:cNvPicPr>
            <a:picLocks noGrp="1" noChangeAspect="1"/>
          </p:cNvPicPr>
          <p:nvPr>
            <p:ph type="pic" sz="quarter" idx="21"/>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p:pic>
      <p:pic>
        <p:nvPicPr>
          <p:cNvPr id="80" name="Segnaposto immagine 79" descr="Pianta">
            <a:extLst>
              <a:ext uri="{FF2B5EF4-FFF2-40B4-BE49-F238E27FC236}">
                <a16:creationId xmlns:a16="http://schemas.microsoft.com/office/drawing/2014/main" id="{DE33393A-3A90-4205-8314-2C195BCD9882}"/>
              </a:ext>
            </a:extLst>
          </p:cNvPr>
          <p:cNvPicPr>
            <a:picLocks noGrp="1" noChangeAspect="1"/>
          </p:cNvPicPr>
          <p:nvPr>
            <p:ph type="pic" sz="quarter" idx="22"/>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p:pic>
      <p:pic>
        <p:nvPicPr>
          <p:cNvPr id="82" name="Segnaposto immagine 81" descr="Albero caducifoglio">
            <a:extLst>
              <a:ext uri="{FF2B5EF4-FFF2-40B4-BE49-F238E27FC236}">
                <a16:creationId xmlns:a16="http://schemas.microsoft.com/office/drawing/2014/main" id="{AD17167C-7E9B-47F1-BCEA-9D03240A1BE5}"/>
              </a:ext>
            </a:extLst>
          </p:cNvPr>
          <p:cNvPicPr>
            <a:picLocks noGrp="1" noChangeAspect="1"/>
          </p:cNvPicPr>
          <p:nvPr>
            <p:ph type="pic" sz="quarter" idx="23"/>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p:pic>
      <p:pic>
        <p:nvPicPr>
          <p:cNvPr id="70" name="Segnaposto immagine 69" descr="Attrezzi per giardinaggio">
            <a:extLst>
              <a:ext uri="{FF2B5EF4-FFF2-40B4-BE49-F238E27FC236}">
                <a16:creationId xmlns:a16="http://schemas.microsoft.com/office/drawing/2014/main" id="{7D9B0252-9E8E-46AB-B59D-3460FE60399D}"/>
              </a:ext>
            </a:extLst>
          </p:cNvPr>
          <p:cNvPicPr>
            <a:picLocks noGrp="1" noChangeAspect="1"/>
          </p:cNvPicPr>
          <p:nvPr>
            <p:ph type="pic" sz="quarter" idx="24"/>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p:pic>
      <p:pic>
        <p:nvPicPr>
          <p:cNvPr id="67" name="Segnaposto immagine 66" descr="Mela">
            <a:extLst>
              <a:ext uri="{FF2B5EF4-FFF2-40B4-BE49-F238E27FC236}">
                <a16:creationId xmlns:a16="http://schemas.microsoft.com/office/drawing/2014/main" id="{C66FAA38-DEF2-4663-948F-5E86500674ED}"/>
              </a:ext>
            </a:extLst>
          </p:cNvPr>
          <p:cNvPicPr>
            <a:picLocks noGrp="1" noChangeAspect="1"/>
          </p:cNvPicPr>
          <p:nvPr>
            <p:ph type="pic" sz="quarter" idx="25"/>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p:pic>
      <p:sp>
        <p:nvSpPr>
          <p:cNvPr id="97" name="Segnaposto testo 96">
            <a:extLst>
              <a:ext uri="{FF2B5EF4-FFF2-40B4-BE49-F238E27FC236}">
                <a16:creationId xmlns:a16="http://schemas.microsoft.com/office/drawing/2014/main" id="{FDAEC997-C3C2-4121-9089-C71E413A96A5}"/>
              </a:ext>
            </a:extLst>
          </p:cNvPr>
          <p:cNvSpPr>
            <a:spLocks noGrp="1"/>
          </p:cNvSpPr>
          <p:nvPr>
            <p:ph type="body" sz="quarter" idx="27"/>
          </p:nvPr>
        </p:nvSpPr>
        <p:spPr/>
        <p:txBody>
          <a:bodyPr rtlCol="0"/>
          <a:lstStyle/>
          <a:p>
            <a:pPr rtl="0"/>
            <a:r>
              <a:rPr lang="it-IT" sz="1800" b="1" dirty="0">
                <a:solidFill>
                  <a:srgbClr val="000000"/>
                </a:solidFill>
                <a:latin typeface="+mj-lt"/>
              </a:rPr>
              <a:t>Progetto</a:t>
            </a:r>
          </a:p>
        </p:txBody>
      </p:sp>
      <p:sp>
        <p:nvSpPr>
          <p:cNvPr id="84" name="Segnaposto testo 83">
            <a:extLst>
              <a:ext uri="{FF2B5EF4-FFF2-40B4-BE49-F238E27FC236}">
                <a16:creationId xmlns:a16="http://schemas.microsoft.com/office/drawing/2014/main" id="{39987E6E-52C0-420F-806B-28FB4667373A}"/>
              </a:ext>
            </a:extLst>
          </p:cNvPr>
          <p:cNvSpPr>
            <a:spLocks noGrp="1"/>
          </p:cNvSpPr>
          <p:nvPr>
            <p:ph type="body" sz="quarter" idx="29"/>
          </p:nvPr>
        </p:nvSpPr>
        <p:spPr/>
        <p:txBody>
          <a:bodyPr rtlCol="0"/>
          <a:lstStyle/>
          <a:p>
            <a:r>
              <a:rPr lang="it-IT" dirty="0">
                <a:solidFill>
                  <a:srgbClr val="000000"/>
                </a:solidFill>
              </a:rPr>
              <a:t>Gestione del progetto</a:t>
            </a:r>
            <a:endParaRPr lang="it-IT" dirty="0"/>
          </a:p>
          <a:p>
            <a:pPr rtl="0"/>
            <a:endParaRPr lang="it-IT" dirty="0"/>
          </a:p>
        </p:txBody>
      </p:sp>
      <p:sp>
        <p:nvSpPr>
          <p:cNvPr id="19" name="Segnaposto testo 18">
            <a:extLst>
              <a:ext uri="{FF2B5EF4-FFF2-40B4-BE49-F238E27FC236}">
                <a16:creationId xmlns:a16="http://schemas.microsoft.com/office/drawing/2014/main" id="{D7C8CD10-3C66-4C32-B8C2-9A234B82C7D1}"/>
              </a:ext>
            </a:extLst>
          </p:cNvPr>
          <p:cNvSpPr>
            <a:spLocks noGrp="1"/>
          </p:cNvSpPr>
          <p:nvPr>
            <p:ph type="body" sz="quarter" idx="31"/>
          </p:nvPr>
        </p:nvSpPr>
        <p:spPr/>
        <p:txBody>
          <a:bodyPr rtlCol="0">
            <a:noAutofit/>
          </a:bodyPr>
          <a:lstStyle/>
          <a:p>
            <a:pPr rtl="0">
              <a:lnSpc>
                <a:spcPct val="100000"/>
              </a:lnSpc>
              <a:spcBef>
                <a:spcPts val="0"/>
              </a:spcBef>
            </a:pPr>
            <a:r>
              <a:rPr lang="it-IT" b="1" dirty="0">
                <a:solidFill>
                  <a:srgbClr val="000000"/>
                </a:solidFill>
                <a:latin typeface="+mj-lt"/>
              </a:rPr>
              <a:t>Idea</a:t>
            </a:r>
            <a:endParaRPr lang="it-IT" dirty="0">
              <a:solidFill>
                <a:schemeClr val="tx1"/>
              </a:solidFill>
            </a:endParaRPr>
          </a:p>
        </p:txBody>
      </p:sp>
      <p:sp>
        <p:nvSpPr>
          <p:cNvPr id="49" name="Segnaposto testo 48">
            <a:extLst>
              <a:ext uri="{FF2B5EF4-FFF2-40B4-BE49-F238E27FC236}">
                <a16:creationId xmlns:a16="http://schemas.microsoft.com/office/drawing/2014/main" id="{E06C67B9-B15A-43D7-A1C8-0C3286C3EB23}"/>
              </a:ext>
            </a:extLst>
          </p:cNvPr>
          <p:cNvSpPr>
            <a:spLocks noGrp="1"/>
          </p:cNvSpPr>
          <p:nvPr>
            <p:ph type="body" sz="quarter" idx="33"/>
          </p:nvPr>
        </p:nvSpPr>
        <p:spPr>
          <a:xfrm>
            <a:off x="6116956" y="5750418"/>
            <a:ext cx="2623007" cy="257822"/>
          </a:xfrm>
        </p:spPr>
        <p:txBody>
          <a:bodyPr rtlCol="0"/>
          <a:lstStyle/>
          <a:p>
            <a:pPr rtl="0"/>
            <a:r>
              <a:rPr lang="it-IT" dirty="0"/>
              <a:t>Qualità e </a:t>
            </a:r>
            <a:r>
              <a:rPr lang="it-IT" dirty="0" err="1"/>
              <a:t>continuous</a:t>
            </a:r>
            <a:r>
              <a:rPr lang="it-IT" dirty="0"/>
              <a:t> </a:t>
            </a:r>
            <a:r>
              <a:rPr lang="it-IT" dirty="0" err="1"/>
              <a:t>improvement</a:t>
            </a:r>
            <a:endParaRPr lang="it-IT" dirty="0"/>
          </a:p>
        </p:txBody>
      </p:sp>
      <p:sp>
        <p:nvSpPr>
          <p:cNvPr id="51" name="Segnaposto testo 50">
            <a:extLst>
              <a:ext uri="{FF2B5EF4-FFF2-40B4-BE49-F238E27FC236}">
                <a16:creationId xmlns:a16="http://schemas.microsoft.com/office/drawing/2014/main" id="{A56BB950-474F-48B8-B96A-19AD258EC1A2}"/>
              </a:ext>
            </a:extLst>
          </p:cNvPr>
          <p:cNvSpPr>
            <a:spLocks noGrp="1"/>
          </p:cNvSpPr>
          <p:nvPr>
            <p:ph type="body" sz="quarter" idx="35"/>
          </p:nvPr>
        </p:nvSpPr>
        <p:spPr/>
        <p:txBody>
          <a:bodyPr rtlCol="0"/>
          <a:lstStyle/>
          <a:p>
            <a:pPr rtl="0"/>
            <a:r>
              <a:rPr lang="it-IT" dirty="0"/>
              <a:t>Esperienza</a:t>
            </a:r>
          </a:p>
        </p:txBody>
      </p:sp>
      <p:sp>
        <p:nvSpPr>
          <p:cNvPr id="55" name="Segnaposto testo 54">
            <a:extLst>
              <a:ext uri="{FF2B5EF4-FFF2-40B4-BE49-F238E27FC236}">
                <a16:creationId xmlns:a16="http://schemas.microsoft.com/office/drawing/2014/main" id="{57539E1A-9B29-402B-A46D-E0F212E1B50F}"/>
              </a:ext>
            </a:extLst>
          </p:cNvPr>
          <p:cNvSpPr>
            <a:spLocks noGrp="1"/>
          </p:cNvSpPr>
          <p:nvPr>
            <p:ph type="body" sz="quarter" idx="37"/>
          </p:nvPr>
        </p:nvSpPr>
        <p:spPr/>
        <p:txBody>
          <a:bodyPr rtlCol="0"/>
          <a:lstStyle/>
          <a:p>
            <a:pPr rtl="0"/>
            <a:r>
              <a:rPr lang="it-IT" dirty="0"/>
              <a:t>Ricerca-Azione</a:t>
            </a:r>
          </a:p>
        </p:txBody>
      </p:sp>
      <p:sp>
        <p:nvSpPr>
          <p:cNvPr id="57" name="Segnaposto testo 56">
            <a:extLst>
              <a:ext uri="{FF2B5EF4-FFF2-40B4-BE49-F238E27FC236}">
                <a16:creationId xmlns:a16="http://schemas.microsoft.com/office/drawing/2014/main" id="{E280721E-D8F5-469E-B021-B2428B82D28A}"/>
              </a:ext>
            </a:extLst>
          </p:cNvPr>
          <p:cNvSpPr>
            <a:spLocks noGrp="1"/>
          </p:cNvSpPr>
          <p:nvPr>
            <p:ph type="body" sz="quarter" idx="39"/>
          </p:nvPr>
        </p:nvSpPr>
        <p:spPr/>
        <p:txBody>
          <a:bodyPr rtlCol="0"/>
          <a:lstStyle/>
          <a:p>
            <a:pPr rtl="0"/>
            <a:r>
              <a:rPr lang="it-IT" sz="1800" b="1" dirty="0">
                <a:solidFill>
                  <a:srgbClr val="000000"/>
                </a:solidFill>
                <a:latin typeface="+mj-lt"/>
              </a:rPr>
              <a:t>Formarsi per sperimentare</a:t>
            </a:r>
            <a:endParaRPr lang="it-IT" dirty="0"/>
          </a:p>
        </p:txBody>
      </p:sp>
      <p:sp>
        <p:nvSpPr>
          <p:cNvPr id="54" name="Ovale 53" descr="indicatori di sequenza temporale">
            <a:extLst>
              <a:ext uri="{FF2B5EF4-FFF2-40B4-BE49-F238E27FC236}">
                <a16:creationId xmlns:a16="http://schemas.microsoft.com/office/drawing/2014/main" id="{860921B8-3D91-48AB-A236-95079DA8AD01}"/>
              </a:ext>
            </a:extLst>
          </p:cNvPr>
          <p:cNvSpPr/>
          <p:nvPr/>
        </p:nvSpPr>
        <p:spPr>
          <a:xfrm flipH="1">
            <a:off x="1003747" y="1350041"/>
            <a:ext cx="168964" cy="16896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105" name="Ovale 104" descr="indicatori di sequenza temporale">
            <a:extLst>
              <a:ext uri="{FF2B5EF4-FFF2-40B4-BE49-F238E27FC236}">
                <a16:creationId xmlns:a16="http://schemas.microsoft.com/office/drawing/2014/main" id="{E92417A0-A309-465F-88E7-0DED361313C1}"/>
              </a:ext>
            </a:extLst>
          </p:cNvPr>
          <p:cNvSpPr/>
          <p:nvPr/>
        </p:nvSpPr>
        <p:spPr>
          <a:xfrm flipH="1">
            <a:off x="4552816" y="6139523"/>
            <a:ext cx="168964" cy="16896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107" name="Ovale 106" descr="indicatori di sequenza temporale">
            <a:extLst>
              <a:ext uri="{FF2B5EF4-FFF2-40B4-BE49-F238E27FC236}">
                <a16:creationId xmlns:a16="http://schemas.microsoft.com/office/drawing/2014/main" id="{13511587-7FCB-40F6-8E34-178AF7381975}"/>
              </a:ext>
            </a:extLst>
          </p:cNvPr>
          <p:cNvSpPr/>
          <p:nvPr/>
        </p:nvSpPr>
        <p:spPr>
          <a:xfrm flipH="1">
            <a:off x="6162090" y="2132914"/>
            <a:ext cx="168964" cy="16896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108" name="Ovale 107" descr="indicatori di sequenza temporale">
            <a:extLst>
              <a:ext uri="{FF2B5EF4-FFF2-40B4-BE49-F238E27FC236}">
                <a16:creationId xmlns:a16="http://schemas.microsoft.com/office/drawing/2014/main" id="{857D08D2-A1C9-489D-8348-CFB47CDE3AB1}"/>
              </a:ext>
            </a:extLst>
          </p:cNvPr>
          <p:cNvSpPr/>
          <p:nvPr/>
        </p:nvSpPr>
        <p:spPr>
          <a:xfrm flipH="1">
            <a:off x="9810032" y="2132914"/>
            <a:ext cx="168964" cy="16896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109" name="Ovale 108" descr="indicatori di sequenza temporale">
            <a:extLst>
              <a:ext uri="{FF2B5EF4-FFF2-40B4-BE49-F238E27FC236}">
                <a16:creationId xmlns:a16="http://schemas.microsoft.com/office/drawing/2014/main" id="{E245448C-0204-44B2-B971-A22E9D2DFACE}"/>
              </a:ext>
            </a:extLst>
          </p:cNvPr>
          <p:cNvSpPr/>
          <p:nvPr/>
        </p:nvSpPr>
        <p:spPr>
          <a:xfrm flipH="1">
            <a:off x="9810032" y="3836703"/>
            <a:ext cx="168964" cy="16896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110" name="Ovale 109" descr="indicatori di sequenza temporale">
            <a:extLst>
              <a:ext uri="{FF2B5EF4-FFF2-40B4-BE49-F238E27FC236}">
                <a16:creationId xmlns:a16="http://schemas.microsoft.com/office/drawing/2014/main" id="{19A80ABD-E90D-411F-BF88-7E1ED68E1846}"/>
              </a:ext>
            </a:extLst>
          </p:cNvPr>
          <p:cNvSpPr/>
          <p:nvPr/>
        </p:nvSpPr>
        <p:spPr>
          <a:xfrm flipH="1">
            <a:off x="6162090" y="3836703"/>
            <a:ext cx="168964" cy="16896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111" name="Ovale 110" descr="indicatori di sequenza temporale">
            <a:extLst>
              <a:ext uri="{FF2B5EF4-FFF2-40B4-BE49-F238E27FC236}">
                <a16:creationId xmlns:a16="http://schemas.microsoft.com/office/drawing/2014/main" id="{467F323A-16F5-4015-85F9-EED889A6702A}"/>
              </a:ext>
            </a:extLst>
          </p:cNvPr>
          <p:cNvSpPr/>
          <p:nvPr/>
        </p:nvSpPr>
        <p:spPr>
          <a:xfrm flipH="1">
            <a:off x="2512199" y="3831770"/>
            <a:ext cx="168964" cy="16896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3" name="Titolo 2">
            <a:extLst>
              <a:ext uri="{FF2B5EF4-FFF2-40B4-BE49-F238E27FC236}">
                <a16:creationId xmlns:a16="http://schemas.microsoft.com/office/drawing/2014/main" id="{30A2CAEF-301A-49CC-8FE3-331B30F3C2D6}"/>
              </a:ext>
            </a:extLst>
          </p:cNvPr>
          <p:cNvSpPr>
            <a:spLocks noGrp="1"/>
          </p:cNvSpPr>
          <p:nvPr>
            <p:ph type="title"/>
          </p:nvPr>
        </p:nvSpPr>
        <p:spPr>
          <a:xfrm>
            <a:off x="4391247" y="578674"/>
            <a:ext cx="6174793" cy="601662"/>
          </a:xfrm>
        </p:spPr>
        <p:txBody>
          <a:bodyPr rtlCol="0">
            <a:normAutofit fontScale="90000"/>
          </a:bodyPr>
          <a:lstStyle/>
          <a:p>
            <a:pPr algn="l" rtl="0"/>
            <a:r>
              <a:rPr lang="it-IT" dirty="0"/>
              <a:t>Percorso</a:t>
            </a:r>
            <a:br>
              <a:rPr lang="it-IT" dirty="0"/>
            </a:br>
            <a:r>
              <a:rPr lang="it-IT" dirty="0"/>
              <a:t>di sperimentazione didattica</a:t>
            </a:r>
          </a:p>
        </p:txBody>
      </p:sp>
    </p:spTree>
    <p:extLst>
      <p:ext uri="{BB962C8B-B14F-4D97-AF65-F5344CB8AC3E}">
        <p14:creationId xmlns:p14="http://schemas.microsoft.com/office/powerpoint/2010/main" val="23041260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E3AF67BE-F674-A31F-9F46-553E152B5C5A}"/>
              </a:ext>
            </a:extLst>
          </p:cNvPr>
          <p:cNvGraphicFramePr>
            <a:graphicFrameLocks noChangeAspect="1"/>
          </p:cNvGraphicFramePr>
          <p:nvPr>
            <p:custDataLst>
              <p:tags r:id="rId1"/>
            </p:custDataLst>
            <p:extLst>
              <p:ext uri="{D42A27DB-BD31-4B8C-83A1-F6EECF244321}">
                <p14:modId xmlns:p14="http://schemas.microsoft.com/office/powerpoint/2010/main" val="3613043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59" imgH="360" progId="TCLayout.ActiveDocument.1">
                  <p:embed/>
                </p:oleObj>
              </mc:Choice>
              <mc:Fallback>
                <p:oleObj name="Diapositiva think-cell" r:id="rId3" imgW="359" imgH="36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098" name="Picture 2">
            <a:extLst>
              <a:ext uri="{FF2B5EF4-FFF2-40B4-BE49-F238E27FC236}">
                <a16:creationId xmlns:a16="http://schemas.microsoft.com/office/drawing/2014/main" id="{D42DDF7B-856E-6DE5-B46B-E2B6BF28E8FB}"/>
              </a:ext>
            </a:extLst>
          </p:cNvPr>
          <p:cNvPicPr>
            <a:picLocks noChangeArrowheads="1"/>
          </p:cNvPicPr>
          <p:nvPr/>
        </p:nvPicPr>
        <p:blipFill rotWithShape="1">
          <a:blip r:embed="rId5">
            <a:extLst>
              <a:ext uri="{28A0092B-C50C-407E-A947-70E740481C1C}">
                <a14:useLocalDpi xmlns:a14="http://schemas.microsoft.com/office/drawing/2010/main" val="0"/>
              </a:ext>
            </a:extLst>
          </a:blip>
          <a:srcRect b="2835"/>
          <a:stretch/>
        </p:blipFill>
        <p:spPr bwMode="auto">
          <a:xfrm>
            <a:off x="7652953" y="0"/>
            <a:ext cx="30348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91518466-60A9-E192-4897-849ADEC6D69D}"/>
              </a:ext>
            </a:extLst>
          </p:cNvPr>
          <p:cNvPicPr>
            <a:picLocks noChangeArrowheads="1"/>
          </p:cNvPicPr>
          <p:nvPr/>
        </p:nvPicPr>
        <p:blipFill rotWithShape="1">
          <a:blip r:embed="rId6">
            <a:extLst>
              <a:ext uri="{28A0092B-C50C-407E-A947-70E740481C1C}">
                <a14:useLocalDpi xmlns:a14="http://schemas.microsoft.com/office/drawing/2010/main" val="0"/>
              </a:ext>
            </a:extLst>
          </a:blip>
          <a:srcRect b="3142"/>
          <a:stretch/>
        </p:blipFill>
        <p:spPr bwMode="auto">
          <a:xfrm>
            <a:off x="360000" y="0"/>
            <a:ext cx="303377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a:extLst>
              <a:ext uri="{FF2B5EF4-FFF2-40B4-BE49-F238E27FC236}">
                <a16:creationId xmlns:a16="http://schemas.microsoft.com/office/drawing/2014/main" id="{E2B468C3-B0F9-A5AD-6ECE-171DC17E312C}"/>
              </a:ext>
            </a:extLst>
          </p:cNvPr>
          <p:cNvPicPr>
            <a:picLocks noChangeArrowheads="1"/>
          </p:cNvPicPr>
          <p:nvPr/>
        </p:nvPicPr>
        <p:blipFill rotWithShape="1">
          <a:blip r:embed="rId7">
            <a:extLst>
              <a:ext uri="{28A0092B-C50C-407E-A947-70E740481C1C}">
                <a14:useLocalDpi xmlns:a14="http://schemas.microsoft.com/office/drawing/2010/main" val="0"/>
              </a:ext>
            </a:extLst>
          </a:blip>
          <a:srcRect b="3448"/>
          <a:stretch/>
        </p:blipFill>
        <p:spPr bwMode="auto">
          <a:xfrm>
            <a:off x="4005965" y="0"/>
            <a:ext cx="30348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45775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01FCCB21-B85B-EE77-1988-F1A83BE48A87}"/>
              </a:ext>
            </a:extLst>
          </p:cNvPr>
          <p:cNvGraphicFramePr>
            <a:graphicFrameLocks noChangeAspect="1"/>
          </p:cNvGraphicFramePr>
          <p:nvPr>
            <p:custDataLst>
              <p:tags r:id="rId1"/>
            </p:custDataLst>
            <p:extLst>
              <p:ext uri="{D42A27DB-BD31-4B8C-83A1-F6EECF244321}">
                <p14:modId xmlns:p14="http://schemas.microsoft.com/office/powerpoint/2010/main" val="4020556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2" name="Oggetto 1" hidden="1">
                        <a:extLst>
                          <a:ext uri="{FF2B5EF4-FFF2-40B4-BE49-F238E27FC236}">
                            <a16:creationId xmlns:a16="http://schemas.microsoft.com/office/drawing/2014/main" id="{01FCCB21-B85B-EE77-1988-F1A83BE48A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a:extLst>
              <a:ext uri="{FF2B5EF4-FFF2-40B4-BE49-F238E27FC236}">
                <a16:creationId xmlns:a16="http://schemas.microsoft.com/office/drawing/2014/main" id="{3111B687-3781-4457-A624-86311FC69082}"/>
              </a:ext>
            </a:extLst>
          </p:cNvPr>
          <p:cNvPicPr>
            <a:picLocks noGrp="1" noChangeAspect="1"/>
          </p:cNvPicPr>
          <p:nvPr>
            <p:ph type="pic" sz="quarter" idx="10"/>
          </p:nvPr>
        </p:nvPicPr>
        <p:blipFill>
          <a:blip r:embed="rId6"/>
          <a:srcRect l="17054" r="17054"/>
          <a:stretch/>
        </p:blipFill>
        <p:spPr>
          <a:xfrm>
            <a:off x="8719089" y="0"/>
            <a:ext cx="3463575" cy="6858000"/>
          </a:xfrm>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595847"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 uri="{C183D7F6-B498-43B3-948B-1728B52AA6E4}">
                  <adec:decorative xmlns:adec="http://schemas.microsoft.com/office/drawing/2017/decorative" val="1"/>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dirty="0"/>
              <a:t>2. Misurare</a:t>
            </a:r>
          </a:p>
        </p:txBody>
      </p:sp>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p:txBody>
          <a:bodyPr rtlCol="0"/>
          <a:lstStyle/>
          <a:p>
            <a:pPr rtl="0"/>
            <a:r>
              <a:rPr lang="it-IT" dirty="0"/>
              <a:t>Per poter valutare correttamente il </a:t>
            </a:r>
            <a:r>
              <a:rPr lang="it-IT" u="sng" dirty="0"/>
              <a:t>bisogno</a:t>
            </a:r>
            <a:r>
              <a:rPr lang="it-IT" dirty="0"/>
              <a:t> e l’efficacia dell’</a:t>
            </a:r>
            <a:r>
              <a:rPr lang="it-IT" u="sng" dirty="0"/>
              <a:t>intervento</a:t>
            </a:r>
            <a:r>
              <a:rPr lang="it-IT" dirty="0"/>
              <a:t> è fondamentale definire i confini del nostro progetto (</a:t>
            </a:r>
            <a:r>
              <a:rPr lang="it-IT" b="1" dirty="0"/>
              <a:t>ambito</a:t>
            </a:r>
            <a:r>
              <a:rPr lang="it-IT" dirty="0"/>
              <a:t>), qual è lo stato di partenza (</a:t>
            </a:r>
            <a:r>
              <a:rPr lang="it-IT" b="1" dirty="0"/>
              <a:t>processo attuale</a:t>
            </a:r>
            <a:r>
              <a:rPr lang="it-IT" dirty="0"/>
              <a:t>), come misuro gli interventi</a:t>
            </a:r>
            <a:r>
              <a:rPr lang="it-IT" b="1" dirty="0"/>
              <a:t>, </a:t>
            </a:r>
            <a:r>
              <a:rPr lang="it-IT" dirty="0"/>
              <a:t>che si intende mettere in atto (</a:t>
            </a:r>
            <a:r>
              <a:rPr lang="it-IT" b="1" dirty="0"/>
              <a:t>input</a:t>
            </a:r>
            <a:r>
              <a:rPr lang="it-IT" dirty="0"/>
              <a:t>),</a:t>
            </a:r>
            <a:r>
              <a:rPr lang="it-IT" b="1" dirty="0"/>
              <a:t>  </a:t>
            </a:r>
            <a:r>
              <a:rPr lang="it-IT" dirty="0"/>
              <a:t>e la trasformazione o risultato (</a:t>
            </a:r>
            <a:r>
              <a:rPr lang="it-IT" b="1" dirty="0"/>
              <a:t>output</a:t>
            </a:r>
            <a:r>
              <a:rPr lang="it-IT" dirty="0"/>
              <a:t>) che ci si aspetta. </a:t>
            </a:r>
          </a:p>
          <a:p>
            <a:pPr rtl="0"/>
            <a:endParaRPr lang="it-IT" dirty="0"/>
          </a:p>
          <a:p>
            <a:pPr rtl="0"/>
            <a:r>
              <a:rPr lang="it-IT" dirty="0"/>
              <a:t>Definiamo i </a:t>
            </a:r>
            <a:r>
              <a:rPr lang="it-IT" b="1" dirty="0"/>
              <a:t>dati</a:t>
            </a:r>
            <a:r>
              <a:rPr lang="it-IT" dirty="0"/>
              <a:t> che ci aiuteranno a misurare l’AS-IS (prima) e il To-BE (dopo) il nostro intervento e come </a:t>
            </a:r>
            <a:r>
              <a:rPr lang="it-IT" b="1" dirty="0"/>
              <a:t>collettarli</a:t>
            </a:r>
            <a:r>
              <a:rPr lang="it-IT" dirty="0"/>
              <a:t>.</a:t>
            </a:r>
          </a:p>
          <a:p>
            <a:r>
              <a:rPr lang="it-IT" dirty="0"/>
              <a:t>Assicurarsi la validità del ns sistema di misura (Ripetibilità e Riproducibilità)</a:t>
            </a:r>
          </a:p>
          <a:p>
            <a:pPr rtl="0"/>
            <a:endParaRPr lang="it-IT" dirty="0"/>
          </a:p>
          <a:p>
            <a:pPr rtl="0"/>
            <a:endParaRPr lang="it-IT" dirty="0"/>
          </a:p>
        </p:txBody>
      </p:sp>
      <p:sp>
        <p:nvSpPr>
          <p:cNvPr id="24" name="Segnaposto testo 23" descr="blocco di contenuto 2">
            <a:extLst>
              <a:ext uri="{FF2B5EF4-FFF2-40B4-BE49-F238E27FC236}">
                <a16:creationId xmlns:a16="http://schemas.microsoft.com/office/drawing/2014/main" id="{C3930A4E-1302-4AC9-86A3-C4E8AF186ED8}"/>
              </a:ext>
            </a:extLst>
          </p:cNvPr>
          <p:cNvSpPr>
            <a:spLocks noGrp="1"/>
          </p:cNvSpPr>
          <p:nvPr>
            <p:ph type="body" sz="quarter" idx="12"/>
          </p:nvPr>
        </p:nvSpPr>
        <p:spPr/>
        <p:txBody>
          <a:bodyPr rtlCol="0"/>
          <a:lstStyle/>
          <a:p>
            <a:pPr marL="285750" indent="-285750" rtl="0">
              <a:buClr>
                <a:srgbClr val="B2606E"/>
              </a:buClr>
              <a:buFont typeface="Arial" panose="020B0604020202020204" pitchFamily="34" charset="0"/>
              <a:buChar char="•"/>
            </a:pPr>
            <a:r>
              <a:rPr lang="it-IT" dirty="0" err="1"/>
              <a:t>Process</a:t>
            </a:r>
            <a:r>
              <a:rPr lang="it-IT" dirty="0"/>
              <a:t> mapping</a:t>
            </a:r>
          </a:p>
          <a:p>
            <a:pPr marL="285750" indent="-285750" rtl="0">
              <a:buClr>
                <a:srgbClr val="B2606E"/>
              </a:buClr>
              <a:buFont typeface="Arial" panose="020B0604020202020204" pitchFamily="34" charset="0"/>
              <a:buChar char="•"/>
            </a:pPr>
            <a:r>
              <a:rPr lang="it-IT" dirty="0" err="1"/>
              <a:t>Fishbone</a:t>
            </a:r>
            <a:r>
              <a:rPr lang="it-IT" dirty="0"/>
              <a:t> </a:t>
            </a:r>
            <a:r>
              <a:rPr lang="it-IT" dirty="0" err="1"/>
              <a:t>diagram</a:t>
            </a:r>
            <a:endParaRPr lang="it-IT" dirty="0"/>
          </a:p>
          <a:p>
            <a:pPr marL="285750" indent="-285750">
              <a:buClr>
                <a:srgbClr val="B2606E"/>
              </a:buClr>
              <a:buFont typeface="Arial" panose="020B0604020202020204" pitchFamily="34" charset="0"/>
              <a:buChar char="•"/>
            </a:pPr>
            <a:r>
              <a:rPr lang="it-IT" dirty="0"/>
              <a:t>Gap </a:t>
            </a:r>
            <a:r>
              <a:rPr lang="it-IT" dirty="0" err="1"/>
              <a:t>analysis</a:t>
            </a:r>
            <a:endParaRPr lang="it-IT" dirty="0"/>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7" name="Segnaposto numero diapositiva 5" descr="Numero diapositiva">
            <a:extLst>
              <a:ext uri="{FF2B5EF4-FFF2-40B4-BE49-F238E27FC236}">
                <a16:creationId xmlns:a16="http://schemas.microsoft.com/office/drawing/2014/main" id="{79161314-0A22-4109-A2B1-41E87EFE1E18}"/>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21</a:t>
            </a:fld>
            <a:endParaRPr lang="it-IT" sz="1200">
              <a:solidFill>
                <a:schemeClr val="bg1"/>
              </a:solidFill>
            </a:endParaRPr>
          </a:p>
        </p:txBody>
      </p:sp>
      <p:sp>
        <p:nvSpPr>
          <p:cNvPr id="13" name="Ovale 12">
            <a:extLst>
              <a:ext uri="{FF2B5EF4-FFF2-40B4-BE49-F238E27FC236}">
                <a16:creationId xmlns:a16="http://schemas.microsoft.com/office/drawing/2014/main" id="{BE8F57D3-CFDC-E627-2CDB-A5958B59A426}"/>
              </a:ext>
              <a:ext uri="{C183D7F6-B498-43B3-948B-1728B52AA6E4}">
                <adec:decorative xmlns:adec="http://schemas.microsoft.com/office/drawing/2017/decorative" val="1"/>
              </a:ext>
            </a:extLst>
          </p:cNvPr>
          <p:cNvSpPr/>
          <p:nvPr/>
        </p:nvSpPr>
        <p:spPr>
          <a:xfrm>
            <a:off x="1368000" y="1728000"/>
            <a:ext cx="683282" cy="683282"/>
          </a:xfrm>
          <a:prstGeom prst="ellipse">
            <a:avLst/>
          </a:prstGeom>
          <a:solidFill>
            <a:schemeClr val="accent5">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t-IT" sz="1463">
              <a:solidFill>
                <a:srgbClr val="FFFFFF"/>
              </a:solidFill>
              <a:latin typeface="Avenir Next LT Pro Light"/>
            </a:endParaRPr>
          </a:p>
        </p:txBody>
      </p:sp>
      <p:pic>
        <p:nvPicPr>
          <p:cNvPr id="16" name="Segnaposto immagine 73" descr="Pacchetto dei semi">
            <a:extLst>
              <a:ext uri="{FF2B5EF4-FFF2-40B4-BE49-F238E27FC236}">
                <a16:creationId xmlns:a16="http://schemas.microsoft.com/office/drawing/2014/main" id="{F6B48E85-CB9C-DEF7-8285-CD6BAE54ADF3}"/>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548000" y="1548000"/>
            <a:ext cx="721023" cy="889000"/>
          </a:xfrm>
          <a:prstGeom prst="rect">
            <a:avLst/>
          </a:prstGeom>
        </p:spPr>
      </p:pic>
      <p:sp>
        <p:nvSpPr>
          <p:cNvPr id="39" name="Ovale 38">
            <a:extLst>
              <a:ext uri="{FF2B5EF4-FFF2-40B4-BE49-F238E27FC236}">
                <a16:creationId xmlns:a16="http://schemas.microsoft.com/office/drawing/2014/main" id="{64519A9C-D7DE-7B86-5D79-E7394558510A}"/>
              </a:ext>
              <a:ext uri="{C183D7F6-B498-43B3-948B-1728B52AA6E4}">
                <adec:decorative xmlns:adec="http://schemas.microsoft.com/office/drawing/2017/decorative" val="1"/>
              </a:ext>
            </a:extLst>
          </p:cNvPr>
          <p:cNvSpPr/>
          <p:nvPr/>
        </p:nvSpPr>
        <p:spPr>
          <a:xfrm>
            <a:off x="5282366" y="1728000"/>
            <a:ext cx="683282" cy="683282"/>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t-IT" sz="1463">
              <a:solidFill>
                <a:srgbClr val="FFFFFF"/>
              </a:solidFill>
              <a:latin typeface="Avenir Next LT Pro Light"/>
            </a:endParaRPr>
          </a:p>
        </p:txBody>
      </p:sp>
      <p:pic>
        <p:nvPicPr>
          <p:cNvPr id="40" name="Segnaposto contenuto 35" descr="Chiave inglese contorno">
            <a:extLst>
              <a:ext uri="{FF2B5EF4-FFF2-40B4-BE49-F238E27FC236}">
                <a16:creationId xmlns:a16="http://schemas.microsoft.com/office/drawing/2014/main" id="{F85FEA64-B4CF-E3C4-75E1-23432A2960DA}"/>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5531222" y="1760234"/>
            <a:ext cx="548640" cy="548640"/>
          </a:xfrm>
          <a:prstGeom prst="rect">
            <a:avLst/>
          </a:prstGeom>
        </p:spPr>
      </p:pic>
    </p:spTree>
    <p:extLst>
      <p:ext uri="{BB962C8B-B14F-4D97-AF65-F5344CB8AC3E}">
        <p14:creationId xmlns:p14="http://schemas.microsoft.com/office/powerpoint/2010/main" val="3145452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E3AF67BE-F674-A31F-9F46-553E152B5C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59" imgH="360" progId="TCLayout.ActiveDocument.1">
                  <p:embed/>
                </p:oleObj>
              </mc:Choice>
              <mc:Fallback>
                <p:oleObj name="Diapositiva think-cell" r:id="rId3" imgW="359" imgH="360" progId="TCLayout.ActiveDocument.1">
                  <p:embed/>
                  <p:pic>
                    <p:nvPicPr>
                      <p:cNvPr id="8" name="Oggetto 7" hidden="1">
                        <a:extLst>
                          <a:ext uri="{FF2B5EF4-FFF2-40B4-BE49-F238E27FC236}">
                            <a16:creationId xmlns:a16="http://schemas.microsoft.com/office/drawing/2014/main" id="{E3AF67BE-F674-A31F-9F46-553E152B5C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146" name="Picture 2">
            <a:extLst>
              <a:ext uri="{FF2B5EF4-FFF2-40B4-BE49-F238E27FC236}">
                <a16:creationId xmlns:a16="http://schemas.microsoft.com/office/drawing/2014/main" id="{514A625B-FC9D-1506-B102-E7CE65B48FE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3142"/>
          <a:stretch/>
        </p:blipFill>
        <p:spPr bwMode="auto">
          <a:xfrm>
            <a:off x="360000" y="0"/>
            <a:ext cx="303377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E719A789-339B-FAC9-C4D3-73BA013A779B}"/>
              </a:ext>
            </a:extLst>
          </p:cNvPr>
          <p:cNvPicPr>
            <a:picLocks noChangeArrowheads="1"/>
          </p:cNvPicPr>
          <p:nvPr/>
        </p:nvPicPr>
        <p:blipFill rotWithShape="1">
          <a:blip r:embed="rId6">
            <a:extLst>
              <a:ext uri="{28A0092B-C50C-407E-A947-70E740481C1C}">
                <a14:useLocalDpi xmlns:a14="http://schemas.microsoft.com/office/drawing/2010/main" val="0"/>
              </a:ext>
            </a:extLst>
          </a:blip>
          <a:srcRect b="3601"/>
          <a:stretch/>
        </p:blipFill>
        <p:spPr bwMode="auto">
          <a:xfrm>
            <a:off x="4006288" y="0"/>
            <a:ext cx="30348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a:extLst>
              <a:ext uri="{FF2B5EF4-FFF2-40B4-BE49-F238E27FC236}">
                <a16:creationId xmlns:a16="http://schemas.microsoft.com/office/drawing/2014/main" id="{E3BDCCD5-8D23-153E-A884-3DB9DA6A01EE}"/>
              </a:ext>
            </a:extLst>
          </p:cNvPr>
          <p:cNvPicPr>
            <a:picLocks noChangeArrowheads="1"/>
          </p:cNvPicPr>
          <p:nvPr/>
        </p:nvPicPr>
        <p:blipFill rotWithShape="1">
          <a:blip r:embed="rId7">
            <a:extLst>
              <a:ext uri="{28A0092B-C50C-407E-A947-70E740481C1C}">
                <a14:useLocalDpi xmlns:a14="http://schemas.microsoft.com/office/drawing/2010/main" val="0"/>
              </a:ext>
            </a:extLst>
          </a:blip>
          <a:srcRect b="3448"/>
          <a:stretch/>
        </p:blipFill>
        <p:spPr bwMode="auto">
          <a:xfrm>
            <a:off x="7653600" y="-1"/>
            <a:ext cx="30348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30491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01FCCB21-B85B-EE77-1988-F1A83BE48A87}"/>
              </a:ext>
            </a:extLst>
          </p:cNvPr>
          <p:cNvGraphicFramePr>
            <a:graphicFrameLocks noChangeAspect="1"/>
          </p:cNvGraphicFramePr>
          <p:nvPr>
            <p:custDataLst>
              <p:tags r:id="rId1"/>
            </p:custDataLst>
            <p:extLst>
              <p:ext uri="{D42A27DB-BD31-4B8C-83A1-F6EECF244321}">
                <p14:modId xmlns:p14="http://schemas.microsoft.com/office/powerpoint/2010/main" val="1417750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2" name="Oggetto 1" hidden="1">
                        <a:extLst>
                          <a:ext uri="{FF2B5EF4-FFF2-40B4-BE49-F238E27FC236}">
                            <a16:creationId xmlns:a16="http://schemas.microsoft.com/office/drawing/2014/main" id="{01FCCB21-B85B-EE77-1988-F1A83BE48A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a:extLst>
              <a:ext uri="{FF2B5EF4-FFF2-40B4-BE49-F238E27FC236}">
                <a16:creationId xmlns:a16="http://schemas.microsoft.com/office/drawing/2014/main" id="{3111B687-3781-4457-A624-86311FC69082}"/>
              </a:ext>
            </a:extLst>
          </p:cNvPr>
          <p:cNvPicPr>
            <a:picLocks noGrp="1" noChangeAspect="1"/>
          </p:cNvPicPr>
          <p:nvPr>
            <p:ph type="pic" sz="quarter" idx="10"/>
          </p:nvPr>
        </p:nvPicPr>
        <p:blipFill>
          <a:blip r:embed="rId6"/>
          <a:srcRect l="6593" r="6593"/>
          <a:stretch/>
        </p:blipFill>
        <p:spPr>
          <a:xfrm>
            <a:off x="7426209" y="0"/>
            <a:ext cx="4765791" cy="6858000"/>
          </a:xfrm>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595847"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 uri="{C183D7F6-B498-43B3-948B-1728B52AA6E4}">
                  <adec:decorative xmlns:adec="http://schemas.microsoft.com/office/drawing/2017/decorative" val="1"/>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dirty="0"/>
              <a:t>3. Analizzare</a:t>
            </a:r>
          </a:p>
        </p:txBody>
      </p:sp>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p:txBody>
          <a:bodyPr rtlCol="0"/>
          <a:lstStyle/>
          <a:p>
            <a:pPr rtl="0"/>
            <a:r>
              <a:rPr lang="it-IT" dirty="0"/>
              <a:t>È la fase in cui si entra nei </a:t>
            </a:r>
            <a:r>
              <a:rPr lang="it-IT" b="1" dirty="0"/>
              <a:t>dettagli</a:t>
            </a:r>
            <a:r>
              <a:rPr lang="it-IT" dirty="0"/>
              <a:t> del progetto e si effettua la vera e propria </a:t>
            </a:r>
            <a:r>
              <a:rPr lang="it-IT" b="1" dirty="0"/>
              <a:t>pianificazione</a:t>
            </a:r>
            <a:r>
              <a:rPr lang="it-IT" dirty="0"/>
              <a:t>.</a:t>
            </a:r>
          </a:p>
          <a:p>
            <a:pPr rtl="0"/>
            <a:r>
              <a:rPr lang="it-IT" dirty="0"/>
              <a:t>Si deve:</a:t>
            </a:r>
          </a:p>
          <a:p>
            <a:pPr marL="285750" indent="-285750" rtl="0">
              <a:lnSpc>
                <a:spcPct val="75000"/>
              </a:lnSpc>
              <a:buClr>
                <a:srgbClr val="B2606E"/>
              </a:buClr>
              <a:buFont typeface="Arial" panose="020B0604020202020204" pitchFamily="34" charset="0"/>
              <a:buChar char="•"/>
            </a:pPr>
            <a:r>
              <a:rPr lang="it-IT" dirty="0"/>
              <a:t>Definire gli </a:t>
            </a:r>
            <a:r>
              <a:rPr lang="it-IT" b="1" dirty="0"/>
              <a:t>obiettivi specifici</a:t>
            </a:r>
          </a:p>
          <a:p>
            <a:pPr marL="285750" indent="-285750" rtl="0">
              <a:lnSpc>
                <a:spcPct val="75000"/>
              </a:lnSpc>
              <a:buClr>
                <a:srgbClr val="B2606E"/>
              </a:buClr>
              <a:buFont typeface="Arial" panose="020B0604020202020204" pitchFamily="34" charset="0"/>
              <a:buChar char="•"/>
            </a:pPr>
            <a:r>
              <a:rPr lang="it-IT" dirty="0"/>
              <a:t>Programmare e descrivere le </a:t>
            </a:r>
            <a:r>
              <a:rPr lang="it-IT" b="1" dirty="0"/>
              <a:t>attività</a:t>
            </a:r>
            <a:r>
              <a:rPr lang="it-IT" dirty="0"/>
              <a:t> necessarie</a:t>
            </a:r>
          </a:p>
          <a:p>
            <a:pPr marL="285750" indent="-285750" rtl="0">
              <a:lnSpc>
                <a:spcPct val="75000"/>
              </a:lnSpc>
              <a:buClr>
                <a:srgbClr val="B2606E"/>
              </a:buClr>
              <a:buFont typeface="Arial" panose="020B0604020202020204" pitchFamily="34" charset="0"/>
              <a:buChar char="•"/>
            </a:pPr>
            <a:r>
              <a:rPr lang="it-IT" dirty="0"/>
              <a:t>Programmare il </a:t>
            </a:r>
            <a:r>
              <a:rPr lang="it-IT" b="1" dirty="0"/>
              <a:t>calendario</a:t>
            </a:r>
          </a:p>
          <a:p>
            <a:pPr marL="285750" indent="-285750" rtl="0">
              <a:lnSpc>
                <a:spcPct val="75000"/>
              </a:lnSpc>
              <a:buClr>
                <a:srgbClr val="B2606E"/>
              </a:buClr>
              <a:buFont typeface="Arial" panose="020B0604020202020204" pitchFamily="34" charset="0"/>
              <a:buChar char="•"/>
            </a:pPr>
            <a:r>
              <a:rPr lang="it-IT" dirty="0"/>
              <a:t>Definire le </a:t>
            </a:r>
            <a:r>
              <a:rPr lang="it-IT" b="1" dirty="0"/>
              <a:t>risorse</a:t>
            </a:r>
            <a:r>
              <a:rPr lang="it-IT" dirty="0"/>
              <a:t> e stimarne l’impiego</a:t>
            </a:r>
          </a:p>
          <a:p>
            <a:pPr marL="285750" indent="-285750" rtl="0">
              <a:lnSpc>
                <a:spcPct val="75000"/>
              </a:lnSpc>
              <a:buClr>
                <a:srgbClr val="B2606E"/>
              </a:buClr>
              <a:buFont typeface="Arial" panose="020B0604020202020204" pitchFamily="34" charset="0"/>
              <a:buChar char="•"/>
            </a:pPr>
            <a:r>
              <a:rPr lang="it-IT" dirty="0"/>
              <a:t>Dettagliare i </a:t>
            </a:r>
            <a:r>
              <a:rPr lang="it-IT" b="1" dirty="0"/>
              <a:t>costi </a:t>
            </a:r>
          </a:p>
          <a:p>
            <a:pPr marL="285750" indent="-285750" rtl="0">
              <a:lnSpc>
                <a:spcPct val="75000"/>
              </a:lnSpc>
              <a:buClr>
                <a:srgbClr val="B2606E"/>
              </a:buClr>
              <a:buFont typeface="Arial" panose="020B0604020202020204" pitchFamily="34" charset="0"/>
              <a:buChar char="•"/>
            </a:pPr>
            <a:r>
              <a:rPr lang="it-IT" dirty="0"/>
              <a:t>Pianificare il </a:t>
            </a:r>
            <a:r>
              <a:rPr lang="it-IT" b="1" dirty="0"/>
              <a:t>sistema di controllo </a:t>
            </a:r>
            <a:r>
              <a:rPr lang="it-IT" dirty="0"/>
              <a:t>e </a:t>
            </a:r>
            <a:r>
              <a:rPr lang="it-IT" b="1" dirty="0"/>
              <a:t>valutazione</a:t>
            </a:r>
          </a:p>
          <a:p>
            <a:pPr marL="285750" indent="-285750" rtl="0">
              <a:lnSpc>
                <a:spcPct val="75000"/>
              </a:lnSpc>
              <a:buClr>
                <a:srgbClr val="B2606E"/>
              </a:buClr>
              <a:buFont typeface="Arial" panose="020B0604020202020204" pitchFamily="34" charset="0"/>
              <a:buChar char="•"/>
            </a:pPr>
            <a:r>
              <a:rPr lang="it-IT" dirty="0"/>
              <a:t>Definire il piano di </a:t>
            </a:r>
            <a:r>
              <a:rPr lang="it-IT" b="1" dirty="0"/>
              <a:t>comunicazione</a:t>
            </a:r>
          </a:p>
          <a:p>
            <a:pPr rtl="0"/>
            <a:endParaRPr lang="it-IT" dirty="0"/>
          </a:p>
        </p:txBody>
      </p:sp>
      <p:sp>
        <p:nvSpPr>
          <p:cNvPr id="24" name="Segnaposto testo 23" descr="blocco di contenuto 2">
            <a:extLst>
              <a:ext uri="{FF2B5EF4-FFF2-40B4-BE49-F238E27FC236}">
                <a16:creationId xmlns:a16="http://schemas.microsoft.com/office/drawing/2014/main" id="{C3930A4E-1302-4AC9-86A3-C4E8AF186ED8}"/>
              </a:ext>
            </a:extLst>
          </p:cNvPr>
          <p:cNvSpPr>
            <a:spLocks noGrp="1"/>
          </p:cNvSpPr>
          <p:nvPr>
            <p:ph type="body" sz="quarter" idx="12"/>
          </p:nvPr>
        </p:nvSpPr>
        <p:spPr/>
        <p:txBody>
          <a:bodyPr rtlCol="0"/>
          <a:lstStyle/>
          <a:p>
            <a:pPr marL="285750" indent="-285750">
              <a:buClr>
                <a:srgbClr val="B2606E"/>
              </a:buClr>
              <a:buFont typeface="Arial" panose="020B0604020202020204" pitchFamily="34" charset="0"/>
              <a:buChar char="•"/>
            </a:pPr>
            <a:r>
              <a:rPr lang="it-IT" dirty="0" err="1"/>
              <a:t>Probability</a:t>
            </a:r>
            <a:r>
              <a:rPr lang="it-IT" dirty="0"/>
              <a:t>-Impact Matrix – realizzazione: che cosa potrebbe andare storto e prepararsi ad intervenire</a:t>
            </a:r>
          </a:p>
          <a:p>
            <a:pPr marL="285750" indent="-285750">
              <a:buClr>
                <a:srgbClr val="B2606E"/>
              </a:buClr>
              <a:buFont typeface="Arial" panose="020B0604020202020204" pitchFamily="34" charset="0"/>
              <a:buChar char="•"/>
            </a:pPr>
            <a:r>
              <a:rPr lang="it-IT" dirty="0"/>
              <a:t>RACI</a:t>
            </a:r>
          </a:p>
          <a:p>
            <a:pPr marL="285750" indent="-285750">
              <a:buClr>
                <a:srgbClr val="B2606E"/>
              </a:buClr>
              <a:buFont typeface="Arial" panose="020B0604020202020204" pitchFamily="34" charset="0"/>
              <a:buChar char="•"/>
            </a:pPr>
            <a:r>
              <a:rPr lang="it-IT" dirty="0" err="1"/>
              <a:t>Gantt</a:t>
            </a:r>
            <a:endParaRPr lang="it-IT" dirty="0"/>
          </a:p>
          <a:p>
            <a:pPr rtl="0"/>
            <a:endParaRPr lang="it-IT" dirty="0"/>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7" name="Segnaposto numero diapositiva 5" descr="Numero diapositiva">
            <a:extLst>
              <a:ext uri="{FF2B5EF4-FFF2-40B4-BE49-F238E27FC236}">
                <a16:creationId xmlns:a16="http://schemas.microsoft.com/office/drawing/2014/main" id="{79161314-0A22-4109-A2B1-41E87EFE1E18}"/>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23</a:t>
            </a:fld>
            <a:endParaRPr lang="it-IT" sz="1200">
              <a:solidFill>
                <a:schemeClr val="bg1"/>
              </a:solidFill>
            </a:endParaRPr>
          </a:p>
        </p:txBody>
      </p:sp>
      <p:sp>
        <p:nvSpPr>
          <p:cNvPr id="16" name="Ovale 15">
            <a:extLst>
              <a:ext uri="{FF2B5EF4-FFF2-40B4-BE49-F238E27FC236}">
                <a16:creationId xmlns:a16="http://schemas.microsoft.com/office/drawing/2014/main" id="{9D0EDDCA-BAFD-AA92-405C-6AED42CBA494}"/>
              </a:ext>
              <a:ext uri="{C183D7F6-B498-43B3-948B-1728B52AA6E4}">
                <adec:decorative xmlns:adec="http://schemas.microsoft.com/office/drawing/2017/decorative" val="1"/>
              </a:ext>
            </a:extLst>
          </p:cNvPr>
          <p:cNvSpPr/>
          <p:nvPr/>
        </p:nvSpPr>
        <p:spPr>
          <a:xfrm>
            <a:off x="1368000" y="1728000"/>
            <a:ext cx="683282" cy="683282"/>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t-IT" sz="1463">
              <a:solidFill>
                <a:srgbClr val="FFFFFF"/>
              </a:solidFill>
              <a:latin typeface="Avenir Next LT Pro Light"/>
            </a:endParaRPr>
          </a:p>
        </p:txBody>
      </p:sp>
      <p:pic>
        <p:nvPicPr>
          <p:cNvPr id="18" name="Segnaposto immagine 24" descr="Innaffiare la pianta">
            <a:extLst>
              <a:ext uri="{FF2B5EF4-FFF2-40B4-BE49-F238E27FC236}">
                <a16:creationId xmlns:a16="http://schemas.microsoft.com/office/drawing/2014/main" id="{3207BD78-0938-FF3D-D52F-D289D8D55EFE}"/>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548000" y="1548000"/>
            <a:ext cx="721023" cy="889000"/>
          </a:xfrm>
          <a:prstGeom prst="rect">
            <a:avLst/>
          </a:prstGeom>
        </p:spPr>
      </p:pic>
      <p:sp>
        <p:nvSpPr>
          <p:cNvPr id="21" name="Ovale 20">
            <a:extLst>
              <a:ext uri="{FF2B5EF4-FFF2-40B4-BE49-F238E27FC236}">
                <a16:creationId xmlns:a16="http://schemas.microsoft.com/office/drawing/2014/main" id="{FA0500D9-472E-0C2C-37B2-192C91FCB715}"/>
              </a:ext>
              <a:ext uri="{C183D7F6-B498-43B3-948B-1728B52AA6E4}">
                <adec:decorative xmlns:adec="http://schemas.microsoft.com/office/drawing/2017/decorative" val="1"/>
              </a:ext>
            </a:extLst>
          </p:cNvPr>
          <p:cNvSpPr/>
          <p:nvPr/>
        </p:nvSpPr>
        <p:spPr>
          <a:xfrm>
            <a:off x="5282366" y="1728000"/>
            <a:ext cx="683282" cy="683282"/>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t-IT" sz="1463">
              <a:solidFill>
                <a:srgbClr val="FFFFFF"/>
              </a:solidFill>
              <a:latin typeface="Avenir Next LT Pro Light"/>
            </a:endParaRPr>
          </a:p>
        </p:txBody>
      </p:sp>
      <p:pic>
        <p:nvPicPr>
          <p:cNvPr id="25" name="Segnaposto contenuto 35" descr="Chiave inglese contorno">
            <a:extLst>
              <a:ext uri="{FF2B5EF4-FFF2-40B4-BE49-F238E27FC236}">
                <a16:creationId xmlns:a16="http://schemas.microsoft.com/office/drawing/2014/main" id="{329904C9-9071-8E01-52D2-710B1DFBB1D3}"/>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5531222" y="1760234"/>
            <a:ext cx="548640" cy="548640"/>
          </a:xfrm>
          <a:prstGeom prst="rect">
            <a:avLst/>
          </a:prstGeom>
        </p:spPr>
      </p:pic>
    </p:spTree>
    <p:extLst>
      <p:ext uri="{BB962C8B-B14F-4D97-AF65-F5344CB8AC3E}">
        <p14:creationId xmlns:p14="http://schemas.microsoft.com/office/powerpoint/2010/main" val="1639108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E3AF67BE-F674-A31F-9F46-553E152B5C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59" imgH="360" progId="TCLayout.ActiveDocument.1">
                  <p:embed/>
                </p:oleObj>
              </mc:Choice>
              <mc:Fallback>
                <p:oleObj name="Diapositiva think-cell" r:id="rId3" imgW="359" imgH="360" progId="TCLayout.ActiveDocument.1">
                  <p:embed/>
                  <p:pic>
                    <p:nvPicPr>
                      <p:cNvPr id="8" name="Oggetto 7" hidden="1">
                        <a:extLst>
                          <a:ext uri="{FF2B5EF4-FFF2-40B4-BE49-F238E27FC236}">
                            <a16:creationId xmlns:a16="http://schemas.microsoft.com/office/drawing/2014/main" id="{E3AF67BE-F674-A31F-9F46-553E152B5C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170" name="Picture 2">
            <a:extLst>
              <a:ext uri="{FF2B5EF4-FFF2-40B4-BE49-F238E27FC236}">
                <a16:creationId xmlns:a16="http://schemas.microsoft.com/office/drawing/2014/main" id="{06BC8A76-661E-1022-37D2-51777F817790}"/>
              </a:ext>
            </a:extLst>
          </p:cNvPr>
          <p:cNvPicPr>
            <a:picLocks noChangeArrowheads="1"/>
          </p:cNvPicPr>
          <p:nvPr/>
        </p:nvPicPr>
        <p:blipFill rotWithShape="1">
          <a:blip r:embed="rId5">
            <a:extLst>
              <a:ext uri="{28A0092B-C50C-407E-A947-70E740481C1C}">
                <a14:useLocalDpi xmlns:a14="http://schemas.microsoft.com/office/drawing/2010/main" val="0"/>
              </a:ext>
            </a:extLst>
          </a:blip>
          <a:srcRect b="3448"/>
          <a:stretch/>
        </p:blipFill>
        <p:spPr bwMode="auto">
          <a:xfrm>
            <a:off x="7653599" y="-1"/>
            <a:ext cx="30348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174" name="Picture 6">
            <a:extLst>
              <a:ext uri="{FF2B5EF4-FFF2-40B4-BE49-F238E27FC236}">
                <a16:creationId xmlns:a16="http://schemas.microsoft.com/office/drawing/2014/main" id="{6050391C-9582-6311-8CA6-4C2B1B7768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1231" y="423087"/>
            <a:ext cx="4545069" cy="1976117"/>
          </a:xfrm>
          <a:prstGeom prst="rect">
            <a:avLst/>
          </a:prstGeom>
          <a:noFill/>
          <a:extLst>
            <a:ext uri="{909E8E84-426E-40DD-AFC4-6F175D3DCCD1}">
              <a14:hiddenFill xmlns:a14="http://schemas.microsoft.com/office/drawing/2010/main">
                <a:solidFill>
                  <a:srgbClr val="FFFFFF"/>
                </a:solidFill>
              </a14:hiddenFill>
            </a:ext>
          </a:extLst>
        </p:spPr>
      </p:pic>
      <p:sp>
        <p:nvSpPr>
          <p:cNvPr id="5" name="CasellaDiTesto 4">
            <a:extLst>
              <a:ext uri="{FF2B5EF4-FFF2-40B4-BE49-F238E27FC236}">
                <a16:creationId xmlns:a16="http://schemas.microsoft.com/office/drawing/2014/main" id="{587155E5-7543-C497-1579-71BA1C9C72F9}"/>
              </a:ext>
            </a:extLst>
          </p:cNvPr>
          <p:cNvSpPr txBox="1"/>
          <p:nvPr/>
        </p:nvSpPr>
        <p:spPr>
          <a:xfrm>
            <a:off x="264667" y="50159"/>
            <a:ext cx="6230664" cy="369332"/>
          </a:xfrm>
          <a:prstGeom prst="rect">
            <a:avLst/>
          </a:prstGeom>
          <a:noFill/>
        </p:spPr>
        <p:txBody>
          <a:bodyPr wrap="square">
            <a:spAutoFit/>
          </a:bodyPr>
          <a:lstStyle/>
          <a:p>
            <a:r>
              <a:rPr lang="it-IT" b="1" i="0" dirty="0" err="1">
                <a:solidFill>
                  <a:srgbClr val="000000"/>
                </a:solidFill>
                <a:effectLst/>
                <a:latin typeface="-apple-system"/>
              </a:rPr>
              <a:t>Probability</a:t>
            </a:r>
            <a:r>
              <a:rPr lang="it-IT" b="1" i="0" dirty="0">
                <a:solidFill>
                  <a:srgbClr val="000000"/>
                </a:solidFill>
                <a:effectLst/>
                <a:latin typeface="-apple-system"/>
              </a:rPr>
              <a:t>-Impact</a:t>
            </a:r>
            <a:r>
              <a:rPr lang="it-IT" b="0" i="0" dirty="0">
                <a:solidFill>
                  <a:srgbClr val="000000"/>
                </a:solidFill>
                <a:effectLst/>
                <a:latin typeface="-apple-system"/>
              </a:rPr>
              <a:t> Matrix</a:t>
            </a:r>
            <a:endParaRPr lang="it-IT" dirty="0"/>
          </a:p>
        </p:txBody>
      </p:sp>
      <p:pic>
        <p:nvPicPr>
          <p:cNvPr id="7176" name="Picture 8">
            <a:extLst>
              <a:ext uri="{FF2B5EF4-FFF2-40B4-BE49-F238E27FC236}">
                <a16:creationId xmlns:a16="http://schemas.microsoft.com/office/drawing/2014/main" id="{94DEB715-BF19-17B9-BA91-D33505A90A1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5511" y="3987199"/>
            <a:ext cx="4545069" cy="1914821"/>
          </a:xfrm>
          <a:prstGeom prst="rect">
            <a:avLst/>
          </a:prstGeom>
          <a:noFill/>
          <a:extLst>
            <a:ext uri="{909E8E84-426E-40DD-AFC4-6F175D3DCCD1}">
              <a14:hiddenFill xmlns:a14="http://schemas.microsoft.com/office/drawing/2010/main">
                <a:solidFill>
                  <a:srgbClr val="FFFFFF"/>
                </a:solidFill>
              </a14:hiddenFill>
            </a:ext>
          </a:extLst>
        </p:spPr>
      </p:pic>
      <p:sp>
        <p:nvSpPr>
          <p:cNvPr id="6" name="CasellaDiTesto 5">
            <a:extLst>
              <a:ext uri="{FF2B5EF4-FFF2-40B4-BE49-F238E27FC236}">
                <a16:creationId xmlns:a16="http://schemas.microsoft.com/office/drawing/2014/main" id="{98172C88-CCC4-8C50-A201-69DEF79435F7}"/>
              </a:ext>
            </a:extLst>
          </p:cNvPr>
          <p:cNvSpPr txBox="1"/>
          <p:nvPr/>
        </p:nvSpPr>
        <p:spPr>
          <a:xfrm>
            <a:off x="264667" y="3487241"/>
            <a:ext cx="6230664" cy="369332"/>
          </a:xfrm>
          <a:prstGeom prst="rect">
            <a:avLst/>
          </a:prstGeom>
          <a:noFill/>
        </p:spPr>
        <p:txBody>
          <a:bodyPr wrap="square">
            <a:spAutoFit/>
          </a:bodyPr>
          <a:lstStyle/>
          <a:p>
            <a:r>
              <a:rPr lang="it-IT" b="1" i="0" dirty="0" err="1">
                <a:solidFill>
                  <a:srgbClr val="000000"/>
                </a:solidFill>
                <a:effectLst/>
                <a:latin typeface="-apple-system"/>
              </a:rPr>
              <a:t>Gantt</a:t>
            </a:r>
            <a:endParaRPr lang="it-IT" dirty="0"/>
          </a:p>
        </p:txBody>
      </p:sp>
      <p:sp>
        <p:nvSpPr>
          <p:cNvPr id="2" name="CasellaDiTesto 1">
            <a:extLst>
              <a:ext uri="{FF2B5EF4-FFF2-40B4-BE49-F238E27FC236}">
                <a16:creationId xmlns:a16="http://schemas.microsoft.com/office/drawing/2014/main" id="{ECCA342A-3CB9-5603-2B5C-80C007100A00}"/>
              </a:ext>
            </a:extLst>
          </p:cNvPr>
          <p:cNvSpPr txBox="1"/>
          <p:nvPr/>
        </p:nvSpPr>
        <p:spPr>
          <a:xfrm>
            <a:off x="401320" y="2717800"/>
            <a:ext cx="4504980" cy="954107"/>
          </a:xfrm>
          <a:prstGeom prst="rect">
            <a:avLst/>
          </a:prstGeom>
          <a:noFill/>
        </p:spPr>
        <p:txBody>
          <a:bodyPr wrap="square" rtlCol="0">
            <a:spAutoFit/>
          </a:bodyPr>
          <a:lstStyle/>
          <a:p>
            <a:r>
              <a:rPr lang="it-IT" sz="1400" dirty="0"/>
              <a:t>Definendo l’impatto e la probabilità che accada, è possibile cercare di prevenire oppure, se il rischio avesse un’accezione positiva, far si che accada.</a:t>
            </a:r>
          </a:p>
          <a:p>
            <a:endParaRPr lang="it-IT" sz="1400" dirty="0"/>
          </a:p>
        </p:txBody>
      </p:sp>
      <p:sp>
        <p:nvSpPr>
          <p:cNvPr id="3" name="Callout: linea piegata con bordo e barra in risalto 2">
            <a:extLst>
              <a:ext uri="{FF2B5EF4-FFF2-40B4-BE49-F238E27FC236}">
                <a16:creationId xmlns:a16="http://schemas.microsoft.com/office/drawing/2014/main" id="{C44F7B9D-0EFE-8C9B-C474-032FDF0D2807}"/>
              </a:ext>
            </a:extLst>
          </p:cNvPr>
          <p:cNvSpPr/>
          <p:nvPr/>
        </p:nvSpPr>
        <p:spPr>
          <a:xfrm>
            <a:off x="2653810" y="4585374"/>
            <a:ext cx="736600" cy="260946"/>
          </a:xfrm>
          <a:prstGeom prst="accentBorderCallout2">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800" dirty="0"/>
              <a:t>MILESTONE</a:t>
            </a:r>
          </a:p>
        </p:txBody>
      </p:sp>
    </p:spTree>
    <p:extLst>
      <p:ext uri="{BB962C8B-B14F-4D97-AF65-F5344CB8AC3E}">
        <p14:creationId xmlns:p14="http://schemas.microsoft.com/office/powerpoint/2010/main" val="16725070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01FCCB21-B85B-EE77-1988-F1A83BE48A87}"/>
              </a:ext>
            </a:extLst>
          </p:cNvPr>
          <p:cNvGraphicFramePr>
            <a:graphicFrameLocks noChangeAspect="1"/>
          </p:cNvGraphicFramePr>
          <p:nvPr>
            <p:custDataLst>
              <p:tags r:id="rId1"/>
            </p:custDataLst>
            <p:extLst>
              <p:ext uri="{D42A27DB-BD31-4B8C-83A1-F6EECF244321}">
                <p14:modId xmlns:p14="http://schemas.microsoft.com/office/powerpoint/2010/main" val="2192791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2" name="Oggetto 1" hidden="1">
                        <a:extLst>
                          <a:ext uri="{FF2B5EF4-FFF2-40B4-BE49-F238E27FC236}">
                            <a16:creationId xmlns:a16="http://schemas.microsoft.com/office/drawing/2014/main" id="{01FCCB21-B85B-EE77-1988-F1A83BE48A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a:extLst>
              <a:ext uri="{FF2B5EF4-FFF2-40B4-BE49-F238E27FC236}">
                <a16:creationId xmlns:a16="http://schemas.microsoft.com/office/drawing/2014/main" id="{3111B687-3781-4457-A624-86311FC69082}"/>
              </a:ext>
            </a:extLst>
          </p:cNvPr>
          <p:cNvPicPr>
            <a:picLocks noGrp="1" noChangeAspect="1"/>
          </p:cNvPicPr>
          <p:nvPr>
            <p:ph type="pic" sz="quarter" idx="10"/>
          </p:nvPr>
        </p:nvPicPr>
        <p:blipFill rotWithShape="1">
          <a:blip r:embed="rId6"/>
          <a:srcRect r="19356"/>
          <a:stretch/>
        </p:blipFill>
        <p:spPr>
          <a:xfrm>
            <a:off x="7881667" y="0"/>
            <a:ext cx="4319171" cy="6858000"/>
          </a:xfrm>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595847"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 uri="{C183D7F6-B498-43B3-948B-1728B52AA6E4}">
                  <adec:decorative xmlns:adec="http://schemas.microsoft.com/office/drawing/2017/decorative" val="1"/>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dirty="0"/>
              <a:t>4. Implementare e monitorare</a:t>
            </a:r>
          </a:p>
        </p:txBody>
      </p:sp>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p:txBody>
          <a:bodyPr rtlCol="0"/>
          <a:lstStyle/>
          <a:p>
            <a:pPr rtl="0"/>
            <a:r>
              <a:rPr lang="it-IT" dirty="0"/>
              <a:t>È il momento di metterci in gioco e partire. È possibile anche lavorare prima su un campione (piccolo gruppo, classe) per poi estendere su larga scale (scuola, istituto comprensivo, ecc.)</a:t>
            </a:r>
          </a:p>
          <a:p>
            <a:pPr rtl="0"/>
            <a:r>
              <a:rPr lang="it-IT" dirty="0"/>
              <a:t>Sarebbe importante avere anche un gruppo di controllo (gruppo misurato prima e dopo, ma al quale l’intervento non viene somministrato)</a:t>
            </a:r>
          </a:p>
          <a:p>
            <a:pPr rtl="0"/>
            <a:r>
              <a:rPr lang="it-IT" dirty="0"/>
              <a:t>Valutarsi alle </a:t>
            </a:r>
            <a:r>
              <a:rPr lang="it-IT" b="1" dirty="0"/>
              <a:t>milestone</a:t>
            </a:r>
            <a:r>
              <a:rPr lang="it-IT" dirty="0"/>
              <a:t> (punti di controllo) ed eventualmente aggiustare la mira.</a:t>
            </a:r>
          </a:p>
        </p:txBody>
      </p:sp>
      <p:sp>
        <p:nvSpPr>
          <p:cNvPr id="24" name="Segnaposto testo 23" descr="blocco di contenuto 2">
            <a:extLst>
              <a:ext uri="{FF2B5EF4-FFF2-40B4-BE49-F238E27FC236}">
                <a16:creationId xmlns:a16="http://schemas.microsoft.com/office/drawing/2014/main" id="{C3930A4E-1302-4AC9-86A3-C4E8AF186ED8}"/>
              </a:ext>
            </a:extLst>
          </p:cNvPr>
          <p:cNvSpPr>
            <a:spLocks noGrp="1"/>
          </p:cNvSpPr>
          <p:nvPr>
            <p:ph type="body" sz="quarter" idx="12"/>
          </p:nvPr>
        </p:nvSpPr>
        <p:spPr/>
        <p:txBody>
          <a:bodyPr rtlCol="0"/>
          <a:lstStyle/>
          <a:p>
            <a:pPr marL="285750" indent="-285750">
              <a:buClr>
                <a:srgbClr val="B2606E"/>
              </a:buClr>
              <a:buFont typeface="Arial" panose="020B0604020202020204" pitchFamily="34" charset="0"/>
              <a:buChar char="•"/>
            </a:pPr>
            <a:r>
              <a:rPr lang="it-IT" dirty="0"/>
              <a:t>A3 Thinking</a:t>
            </a:r>
          </a:p>
          <a:p>
            <a:pPr marL="285750" indent="-285750">
              <a:buClr>
                <a:srgbClr val="B2606E"/>
              </a:buClr>
              <a:buFont typeface="Arial" panose="020B0604020202020204" pitchFamily="34" charset="0"/>
              <a:buChar char="•"/>
            </a:pPr>
            <a:r>
              <a:rPr lang="it-IT" dirty="0"/>
              <a:t>PDCA</a:t>
            </a:r>
          </a:p>
          <a:p>
            <a:pPr marL="285750" indent="-285750">
              <a:buClr>
                <a:srgbClr val="B2606E"/>
              </a:buClr>
              <a:buFont typeface="Arial" panose="020B0604020202020204" pitchFamily="34" charset="0"/>
              <a:buChar char="•"/>
            </a:pPr>
            <a:r>
              <a:rPr lang="it-IT" dirty="0"/>
              <a:t>Risks </a:t>
            </a:r>
            <a:r>
              <a:rPr lang="it-IT" dirty="0" err="1"/>
              <a:t>matrix</a:t>
            </a:r>
            <a:r>
              <a:rPr lang="it-IT" dirty="0"/>
              <a:t> - revisione</a:t>
            </a:r>
          </a:p>
          <a:p>
            <a:pPr rtl="0"/>
            <a:endParaRPr lang="it-IT" dirty="0"/>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7" name="Segnaposto numero diapositiva 5" descr="Numero diapositiva">
            <a:extLst>
              <a:ext uri="{FF2B5EF4-FFF2-40B4-BE49-F238E27FC236}">
                <a16:creationId xmlns:a16="http://schemas.microsoft.com/office/drawing/2014/main" id="{79161314-0A22-4109-A2B1-41E87EFE1E18}"/>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25</a:t>
            </a:fld>
            <a:endParaRPr lang="it-IT" sz="1200">
              <a:solidFill>
                <a:schemeClr val="bg1"/>
              </a:solidFill>
            </a:endParaRPr>
          </a:p>
        </p:txBody>
      </p:sp>
      <p:sp>
        <p:nvSpPr>
          <p:cNvPr id="12" name="Ovale 11">
            <a:extLst>
              <a:ext uri="{FF2B5EF4-FFF2-40B4-BE49-F238E27FC236}">
                <a16:creationId xmlns:a16="http://schemas.microsoft.com/office/drawing/2014/main" id="{7A04C1F1-2A8F-9E9C-9028-AC4BFCB92EC5}"/>
              </a:ext>
              <a:ext uri="{C183D7F6-B498-43B3-948B-1728B52AA6E4}">
                <adec:decorative xmlns:adec="http://schemas.microsoft.com/office/drawing/2017/decorative" val="1"/>
              </a:ext>
            </a:extLst>
          </p:cNvPr>
          <p:cNvSpPr/>
          <p:nvPr/>
        </p:nvSpPr>
        <p:spPr>
          <a:xfrm>
            <a:off x="1368000" y="1728000"/>
            <a:ext cx="683282" cy="683282"/>
          </a:xfrm>
          <a:prstGeom prst="ellipse">
            <a:avLst/>
          </a:prstGeom>
          <a:solidFill>
            <a:schemeClr val="accent3">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t-IT" sz="1463">
              <a:solidFill>
                <a:srgbClr val="4868E5"/>
              </a:solidFill>
              <a:latin typeface="Avenir Next LT Pro Light"/>
            </a:endParaRPr>
          </a:p>
        </p:txBody>
      </p:sp>
      <p:pic>
        <p:nvPicPr>
          <p:cNvPr id="13" name="Segnaposto immagine 49" descr="Albero caducifoglio">
            <a:extLst>
              <a:ext uri="{FF2B5EF4-FFF2-40B4-BE49-F238E27FC236}">
                <a16:creationId xmlns:a16="http://schemas.microsoft.com/office/drawing/2014/main" id="{2335EA53-80F1-6455-C135-F58A656F366C}"/>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548000" y="1548000"/>
            <a:ext cx="721023" cy="889000"/>
          </a:xfrm>
          <a:prstGeom prst="rect">
            <a:avLst/>
          </a:prstGeom>
        </p:spPr>
      </p:pic>
      <p:sp>
        <p:nvSpPr>
          <p:cNvPr id="19" name="Ovale 18">
            <a:extLst>
              <a:ext uri="{FF2B5EF4-FFF2-40B4-BE49-F238E27FC236}">
                <a16:creationId xmlns:a16="http://schemas.microsoft.com/office/drawing/2014/main" id="{F36F3283-7B7E-77DC-3CC6-B19D9B0916A0}"/>
              </a:ext>
              <a:ext uri="{C183D7F6-B498-43B3-948B-1728B52AA6E4}">
                <adec:decorative xmlns:adec="http://schemas.microsoft.com/office/drawing/2017/decorative" val="1"/>
              </a:ext>
            </a:extLst>
          </p:cNvPr>
          <p:cNvSpPr/>
          <p:nvPr/>
        </p:nvSpPr>
        <p:spPr>
          <a:xfrm>
            <a:off x="5282366" y="1728000"/>
            <a:ext cx="683282" cy="683282"/>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t-IT" sz="1463">
              <a:solidFill>
                <a:srgbClr val="FFFFFF"/>
              </a:solidFill>
              <a:latin typeface="Avenir Next LT Pro Light"/>
            </a:endParaRPr>
          </a:p>
        </p:txBody>
      </p:sp>
      <p:pic>
        <p:nvPicPr>
          <p:cNvPr id="20" name="Segnaposto contenuto 35" descr="Chiave inglese contorno">
            <a:extLst>
              <a:ext uri="{FF2B5EF4-FFF2-40B4-BE49-F238E27FC236}">
                <a16:creationId xmlns:a16="http://schemas.microsoft.com/office/drawing/2014/main" id="{2D0ED6D5-51BD-B277-6E0A-F4989CFD3A2C}"/>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5531222" y="1760234"/>
            <a:ext cx="548640" cy="548640"/>
          </a:xfrm>
          <a:prstGeom prst="rect">
            <a:avLst/>
          </a:prstGeom>
        </p:spPr>
      </p:pic>
    </p:spTree>
    <p:extLst>
      <p:ext uri="{BB962C8B-B14F-4D97-AF65-F5344CB8AC3E}">
        <p14:creationId xmlns:p14="http://schemas.microsoft.com/office/powerpoint/2010/main" val="26788024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E3AF67BE-F674-A31F-9F46-553E152B5C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59" imgH="360" progId="TCLayout.ActiveDocument.1">
                  <p:embed/>
                </p:oleObj>
              </mc:Choice>
              <mc:Fallback>
                <p:oleObj name="Diapositiva think-cell" r:id="rId3" imgW="359" imgH="360" progId="TCLayout.ActiveDocument.1">
                  <p:embed/>
                  <p:pic>
                    <p:nvPicPr>
                      <p:cNvPr id="8" name="Oggetto 7" hidden="1">
                        <a:extLst>
                          <a:ext uri="{FF2B5EF4-FFF2-40B4-BE49-F238E27FC236}">
                            <a16:creationId xmlns:a16="http://schemas.microsoft.com/office/drawing/2014/main" id="{E3AF67BE-F674-A31F-9F46-553E152B5C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194" name="Picture 2">
            <a:extLst>
              <a:ext uri="{FF2B5EF4-FFF2-40B4-BE49-F238E27FC236}">
                <a16:creationId xmlns:a16="http://schemas.microsoft.com/office/drawing/2014/main" id="{CC6C49E1-D1AF-2661-1358-2C15E4B4EABA}"/>
              </a:ext>
            </a:extLst>
          </p:cNvPr>
          <p:cNvPicPr>
            <a:picLocks noChangeArrowheads="1"/>
          </p:cNvPicPr>
          <p:nvPr/>
        </p:nvPicPr>
        <p:blipFill rotWithShape="1">
          <a:blip r:embed="rId5">
            <a:extLst>
              <a:ext uri="{28A0092B-C50C-407E-A947-70E740481C1C}">
                <a14:useLocalDpi xmlns:a14="http://schemas.microsoft.com/office/drawing/2010/main" val="0"/>
              </a:ext>
            </a:extLst>
          </a:blip>
          <a:srcRect b="3601"/>
          <a:stretch/>
        </p:blipFill>
        <p:spPr bwMode="auto">
          <a:xfrm>
            <a:off x="4815161" y="0"/>
            <a:ext cx="30348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8196" name="Picture 4">
            <a:extLst>
              <a:ext uri="{FF2B5EF4-FFF2-40B4-BE49-F238E27FC236}">
                <a16:creationId xmlns:a16="http://schemas.microsoft.com/office/drawing/2014/main" id="{BC1631EA-4538-8F0A-9C3A-06DFF8A3601D}"/>
              </a:ext>
            </a:extLst>
          </p:cNvPr>
          <p:cNvPicPr>
            <a:picLocks noChangeArrowheads="1"/>
          </p:cNvPicPr>
          <p:nvPr/>
        </p:nvPicPr>
        <p:blipFill rotWithShape="1">
          <a:blip r:embed="rId6">
            <a:extLst>
              <a:ext uri="{28A0092B-C50C-407E-A947-70E740481C1C}">
                <a14:useLocalDpi xmlns:a14="http://schemas.microsoft.com/office/drawing/2010/main" val="0"/>
              </a:ext>
            </a:extLst>
          </a:blip>
          <a:srcRect b="3601"/>
          <a:stretch/>
        </p:blipFill>
        <p:spPr bwMode="auto">
          <a:xfrm>
            <a:off x="1126030" y="-1"/>
            <a:ext cx="30348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78770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01FCCB21-B85B-EE77-1988-F1A83BE48A87}"/>
              </a:ext>
            </a:extLst>
          </p:cNvPr>
          <p:cNvGraphicFramePr>
            <a:graphicFrameLocks noChangeAspect="1"/>
          </p:cNvGraphicFramePr>
          <p:nvPr>
            <p:custDataLst>
              <p:tags r:id="rId1"/>
            </p:custDataLst>
            <p:extLst>
              <p:ext uri="{D42A27DB-BD31-4B8C-83A1-F6EECF244321}">
                <p14:modId xmlns:p14="http://schemas.microsoft.com/office/powerpoint/2010/main" val="2663381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2" name="Oggetto 1" hidden="1">
                        <a:extLst>
                          <a:ext uri="{FF2B5EF4-FFF2-40B4-BE49-F238E27FC236}">
                            <a16:creationId xmlns:a16="http://schemas.microsoft.com/office/drawing/2014/main" id="{01FCCB21-B85B-EE77-1988-F1A83BE48A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a:extLst>
              <a:ext uri="{FF2B5EF4-FFF2-40B4-BE49-F238E27FC236}">
                <a16:creationId xmlns:a16="http://schemas.microsoft.com/office/drawing/2014/main" id="{3111B687-3781-4457-A624-86311FC69082}"/>
              </a:ext>
            </a:extLst>
          </p:cNvPr>
          <p:cNvPicPr>
            <a:picLocks noGrp="1" noChangeAspect="1"/>
          </p:cNvPicPr>
          <p:nvPr>
            <p:ph type="pic" sz="quarter" idx="10"/>
          </p:nvPr>
        </p:nvPicPr>
        <p:blipFill rotWithShape="1">
          <a:blip r:embed="rId6"/>
          <a:srcRect r="20620"/>
          <a:stretch/>
        </p:blipFill>
        <p:spPr>
          <a:xfrm>
            <a:off x="7940481" y="0"/>
            <a:ext cx="4251519" cy="6858000"/>
          </a:xfrm>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595847"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 uri="{C183D7F6-B498-43B3-948B-1728B52AA6E4}">
                  <adec:decorative xmlns:adec="http://schemas.microsoft.com/office/drawing/2017/decorative" val="1"/>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dirty="0"/>
              <a:t>5. Controllare e chiudere</a:t>
            </a:r>
          </a:p>
        </p:txBody>
      </p:sp>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p:txBody>
          <a:bodyPr rtlCol="0"/>
          <a:lstStyle/>
          <a:p>
            <a:pPr rtl="0"/>
            <a:r>
              <a:rPr lang="it-IT" dirty="0"/>
              <a:t>È la fase in cui si misurano i risultati sulla base degli indicatori di  riferimento</a:t>
            </a:r>
          </a:p>
          <a:p>
            <a:pPr rtl="0"/>
            <a:r>
              <a:rPr lang="it-IT" dirty="0"/>
              <a:t>Si effettua il raffronto tra la situazione </a:t>
            </a:r>
            <a:r>
              <a:rPr lang="it-IT" dirty="0" err="1"/>
              <a:t>pre</a:t>
            </a:r>
            <a:r>
              <a:rPr lang="it-IT" dirty="0"/>
              <a:t> e post intervento e fra il previsto e il realizzato.</a:t>
            </a:r>
          </a:p>
          <a:p>
            <a:pPr rtl="0"/>
            <a:r>
              <a:rPr lang="it-IT" dirty="0"/>
              <a:t>Si valuta l’eventualità di intraprendere azioni correttive sulla ripresentazione del progetto</a:t>
            </a:r>
          </a:p>
          <a:p>
            <a:pPr rtl="0"/>
            <a:r>
              <a:rPr lang="it-IT" dirty="0"/>
              <a:t>Si valutano possibili miglioramento o sviluppi</a:t>
            </a:r>
          </a:p>
          <a:p>
            <a:pPr rtl="0"/>
            <a:endParaRPr lang="it-IT" dirty="0"/>
          </a:p>
          <a:p>
            <a:pPr rtl="0"/>
            <a:endParaRPr lang="it-IT" dirty="0"/>
          </a:p>
        </p:txBody>
      </p:sp>
      <p:sp>
        <p:nvSpPr>
          <p:cNvPr id="24" name="Segnaposto testo 23" descr="blocco di contenuto 2">
            <a:extLst>
              <a:ext uri="{FF2B5EF4-FFF2-40B4-BE49-F238E27FC236}">
                <a16:creationId xmlns:a16="http://schemas.microsoft.com/office/drawing/2014/main" id="{C3930A4E-1302-4AC9-86A3-C4E8AF186ED8}"/>
              </a:ext>
            </a:extLst>
          </p:cNvPr>
          <p:cNvSpPr>
            <a:spLocks noGrp="1"/>
          </p:cNvSpPr>
          <p:nvPr>
            <p:ph type="body" sz="quarter" idx="12"/>
          </p:nvPr>
        </p:nvSpPr>
        <p:spPr/>
        <p:txBody>
          <a:bodyPr rtlCol="0"/>
          <a:lstStyle/>
          <a:p>
            <a:pPr marL="285750" indent="-285750">
              <a:buClr>
                <a:srgbClr val="B2606E"/>
              </a:buClr>
              <a:buFont typeface="Arial" panose="020B0604020202020204" pitchFamily="34" charset="0"/>
              <a:buChar char="•"/>
            </a:pPr>
            <a:r>
              <a:rPr lang="it-IT" dirty="0"/>
              <a:t>Test statistici</a:t>
            </a:r>
          </a:p>
          <a:p>
            <a:pPr marL="285750" indent="-285750">
              <a:buClr>
                <a:srgbClr val="B2606E"/>
              </a:buClr>
              <a:buFont typeface="Arial" panose="020B0604020202020204" pitchFamily="34" charset="0"/>
              <a:buChar char="•"/>
            </a:pPr>
            <a:r>
              <a:rPr lang="it-IT" dirty="0" err="1"/>
              <a:t>Continuous</a:t>
            </a:r>
            <a:r>
              <a:rPr lang="it-IT" dirty="0"/>
              <a:t> </a:t>
            </a:r>
            <a:r>
              <a:rPr lang="it-IT" dirty="0" err="1"/>
              <a:t>Improvement</a:t>
            </a:r>
            <a:endParaRPr lang="it-IT" dirty="0"/>
          </a:p>
          <a:p>
            <a:pPr marL="285750" indent="-285750">
              <a:buClr>
                <a:srgbClr val="B2606E"/>
              </a:buClr>
              <a:buFont typeface="Arial" panose="020B0604020202020204" pitchFamily="34" charset="0"/>
              <a:buChar char="•"/>
            </a:pPr>
            <a:r>
              <a:rPr lang="it-IT" dirty="0"/>
              <a:t>Lesson </a:t>
            </a:r>
            <a:r>
              <a:rPr lang="it-IT" dirty="0" err="1"/>
              <a:t>Learned</a:t>
            </a:r>
            <a:endParaRPr lang="it-IT" dirty="0"/>
          </a:p>
          <a:p>
            <a:pPr rtl="0"/>
            <a:endParaRPr lang="it-IT" dirty="0"/>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7" name="Segnaposto numero diapositiva 5" descr="Numero diapositiva">
            <a:extLst>
              <a:ext uri="{FF2B5EF4-FFF2-40B4-BE49-F238E27FC236}">
                <a16:creationId xmlns:a16="http://schemas.microsoft.com/office/drawing/2014/main" id="{79161314-0A22-4109-A2B1-41E87EFE1E18}"/>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27</a:t>
            </a:fld>
            <a:endParaRPr lang="it-IT" sz="1200">
              <a:solidFill>
                <a:schemeClr val="bg1"/>
              </a:solidFill>
            </a:endParaRPr>
          </a:p>
        </p:txBody>
      </p:sp>
      <p:sp>
        <p:nvSpPr>
          <p:cNvPr id="6" name="Ovale 5">
            <a:extLst>
              <a:ext uri="{FF2B5EF4-FFF2-40B4-BE49-F238E27FC236}">
                <a16:creationId xmlns:a16="http://schemas.microsoft.com/office/drawing/2014/main" id="{F62F1C54-DD4A-F9BC-8A8F-6D5B982CE790}"/>
              </a:ext>
              <a:ext uri="{C183D7F6-B498-43B3-948B-1728B52AA6E4}">
                <adec:decorative xmlns:adec="http://schemas.microsoft.com/office/drawing/2017/decorative" val="1"/>
              </a:ext>
            </a:extLst>
          </p:cNvPr>
          <p:cNvSpPr/>
          <p:nvPr/>
        </p:nvSpPr>
        <p:spPr>
          <a:xfrm>
            <a:off x="1368000" y="1728000"/>
            <a:ext cx="683282" cy="683282"/>
          </a:xfrm>
          <a:prstGeom prst="ellipse">
            <a:avLst/>
          </a:prstGeom>
          <a:solidFill>
            <a:schemeClr val="accent2">
              <a:lumMod val="25000"/>
              <a:lumOff val="7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t-IT" sz="1463">
              <a:solidFill>
                <a:srgbClr val="FFFFFF"/>
              </a:solidFill>
              <a:latin typeface="Avenir Next LT Pro Light"/>
            </a:endParaRPr>
          </a:p>
        </p:txBody>
      </p:sp>
      <p:pic>
        <p:nvPicPr>
          <p:cNvPr id="8" name="Segnaposto immagine 40" descr="Mela">
            <a:extLst>
              <a:ext uri="{FF2B5EF4-FFF2-40B4-BE49-F238E27FC236}">
                <a16:creationId xmlns:a16="http://schemas.microsoft.com/office/drawing/2014/main" id="{7169E286-86A7-9C3B-BEDD-C26EFB7B814E}"/>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548000" y="1548000"/>
            <a:ext cx="721023" cy="889000"/>
          </a:xfrm>
          <a:prstGeom prst="rect">
            <a:avLst/>
          </a:prstGeom>
        </p:spPr>
      </p:pic>
      <p:sp>
        <p:nvSpPr>
          <p:cNvPr id="19" name="Ovale 18">
            <a:extLst>
              <a:ext uri="{FF2B5EF4-FFF2-40B4-BE49-F238E27FC236}">
                <a16:creationId xmlns:a16="http://schemas.microsoft.com/office/drawing/2014/main" id="{89F177A0-01EE-AE89-3D11-459B070A09BE}"/>
              </a:ext>
              <a:ext uri="{C183D7F6-B498-43B3-948B-1728B52AA6E4}">
                <adec:decorative xmlns:adec="http://schemas.microsoft.com/office/drawing/2017/decorative" val="1"/>
              </a:ext>
            </a:extLst>
          </p:cNvPr>
          <p:cNvSpPr/>
          <p:nvPr/>
        </p:nvSpPr>
        <p:spPr>
          <a:xfrm>
            <a:off x="5282366" y="1728000"/>
            <a:ext cx="683282" cy="683282"/>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eaLnBrk="1" fontAlgn="auto" hangingPunct="1">
              <a:spcBef>
                <a:spcPts val="0"/>
              </a:spcBef>
              <a:spcAft>
                <a:spcPts val="0"/>
              </a:spcAft>
            </a:pPr>
            <a:endParaRPr lang="it-IT" sz="1463">
              <a:solidFill>
                <a:srgbClr val="FFFFFF"/>
              </a:solidFill>
              <a:latin typeface="Avenir Next LT Pro Light"/>
            </a:endParaRPr>
          </a:p>
        </p:txBody>
      </p:sp>
      <p:pic>
        <p:nvPicPr>
          <p:cNvPr id="20" name="Segnaposto contenuto 35" descr="Chiave inglese contorno">
            <a:extLst>
              <a:ext uri="{FF2B5EF4-FFF2-40B4-BE49-F238E27FC236}">
                <a16:creationId xmlns:a16="http://schemas.microsoft.com/office/drawing/2014/main" id="{AC7C5148-B16F-8CC2-092F-CE3BCBDB54B4}"/>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5531222" y="1760234"/>
            <a:ext cx="548640" cy="548640"/>
          </a:xfrm>
          <a:prstGeom prst="rect">
            <a:avLst/>
          </a:prstGeom>
        </p:spPr>
      </p:pic>
    </p:spTree>
    <p:extLst>
      <p:ext uri="{BB962C8B-B14F-4D97-AF65-F5344CB8AC3E}">
        <p14:creationId xmlns:p14="http://schemas.microsoft.com/office/powerpoint/2010/main" val="3563193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E3AF67BE-F674-A31F-9F46-553E152B5C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8" name="Oggetto 7" hidden="1">
                        <a:extLst>
                          <a:ext uri="{FF2B5EF4-FFF2-40B4-BE49-F238E27FC236}">
                            <a16:creationId xmlns:a16="http://schemas.microsoft.com/office/drawing/2014/main" id="{E3AF67BE-F674-A31F-9F46-553E152B5C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218" name="Picture 2">
            <a:extLst>
              <a:ext uri="{FF2B5EF4-FFF2-40B4-BE49-F238E27FC236}">
                <a16:creationId xmlns:a16="http://schemas.microsoft.com/office/drawing/2014/main" id="{7388E3C6-2E7E-6369-81B5-632A10505974}"/>
              </a:ext>
            </a:extLst>
          </p:cNvPr>
          <p:cNvPicPr>
            <a:picLocks noChangeArrowheads="1"/>
          </p:cNvPicPr>
          <p:nvPr/>
        </p:nvPicPr>
        <p:blipFill rotWithShape="1">
          <a:blip r:embed="rId6">
            <a:extLst>
              <a:ext uri="{28A0092B-C50C-407E-A947-70E740481C1C}">
                <a14:useLocalDpi xmlns:a14="http://schemas.microsoft.com/office/drawing/2010/main" val="0"/>
              </a:ext>
            </a:extLst>
          </a:blip>
          <a:srcRect b="2528"/>
          <a:stretch/>
        </p:blipFill>
        <p:spPr bwMode="auto">
          <a:xfrm>
            <a:off x="9157200" y="13138"/>
            <a:ext cx="30348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0" name="Immagine 9">
            <a:extLst>
              <a:ext uri="{FF2B5EF4-FFF2-40B4-BE49-F238E27FC236}">
                <a16:creationId xmlns:a16="http://schemas.microsoft.com/office/drawing/2014/main" id="{062CF984-725C-829A-E0D9-6D03585FD23B}"/>
              </a:ext>
            </a:extLst>
          </p:cNvPr>
          <p:cNvPicPr>
            <a:picLocks noChangeAspect="1"/>
          </p:cNvPicPr>
          <p:nvPr/>
        </p:nvPicPr>
        <p:blipFill>
          <a:blip r:embed="rId7"/>
          <a:stretch>
            <a:fillRect/>
          </a:stretch>
        </p:blipFill>
        <p:spPr>
          <a:xfrm>
            <a:off x="10510" y="34158"/>
            <a:ext cx="2334638" cy="6858000"/>
          </a:xfrm>
          <a:prstGeom prst="rect">
            <a:avLst/>
          </a:prstGeom>
        </p:spPr>
      </p:pic>
      <p:pic>
        <p:nvPicPr>
          <p:cNvPr id="12" name="Immagine 11">
            <a:extLst>
              <a:ext uri="{FF2B5EF4-FFF2-40B4-BE49-F238E27FC236}">
                <a16:creationId xmlns:a16="http://schemas.microsoft.com/office/drawing/2014/main" id="{C0D40C8B-BC55-29ED-77AD-9C23F1D34F36}"/>
              </a:ext>
            </a:extLst>
          </p:cNvPr>
          <p:cNvPicPr>
            <a:picLocks noChangeAspect="1"/>
          </p:cNvPicPr>
          <p:nvPr/>
        </p:nvPicPr>
        <p:blipFill>
          <a:blip r:embed="rId8"/>
          <a:stretch>
            <a:fillRect/>
          </a:stretch>
        </p:blipFill>
        <p:spPr>
          <a:xfrm>
            <a:off x="2334638" y="0"/>
            <a:ext cx="2331892" cy="6858000"/>
          </a:xfrm>
          <a:prstGeom prst="rect">
            <a:avLst/>
          </a:prstGeom>
        </p:spPr>
      </p:pic>
      <p:pic>
        <p:nvPicPr>
          <p:cNvPr id="14" name="Immagine 13">
            <a:extLst>
              <a:ext uri="{FF2B5EF4-FFF2-40B4-BE49-F238E27FC236}">
                <a16:creationId xmlns:a16="http://schemas.microsoft.com/office/drawing/2014/main" id="{C2F171D9-2C7D-61EB-99A6-DCEB9B8CD8E3}"/>
              </a:ext>
            </a:extLst>
          </p:cNvPr>
          <p:cNvPicPr>
            <a:picLocks noChangeAspect="1"/>
          </p:cNvPicPr>
          <p:nvPr/>
        </p:nvPicPr>
        <p:blipFill>
          <a:blip r:embed="rId9"/>
          <a:stretch>
            <a:fillRect/>
          </a:stretch>
        </p:blipFill>
        <p:spPr>
          <a:xfrm>
            <a:off x="4616406" y="-7882"/>
            <a:ext cx="2374252" cy="6858000"/>
          </a:xfrm>
          <a:prstGeom prst="rect">
            <a:avLst/>
          </a:prstGeom>
        </p:spPr>
      </p:pic>
      <p:pic>
        <p:nvPicPr>
          <p:cNvPr id="16" name="Immagine 15">
            <a:extLst>
              <a:ext uri="{FF2B5EF4-FFF2-40B4-BE49-F238E27FC236}">
                <a16:creationId xmlns:a16="http://schemas.microsoft.com/office/drawing/2014/main" id="{FF98CF2C-27EA-7351-F7CB-0DA58AEE4C1F}"/>
              </a:ext>
            </a:extLst>
          </p:cNvPr>
          <p:cNvPicPr>
            <a:picLocks noChangeAspect="1"/>
          </p:cNvPicPr>
          <p:nvPr/>
        </p:nvPicPr>
        <p:blipFill rotWithShape="1">
          <a:blip r:embed="rId10"/>
          <a:srcRect t="-1" b="690"/>
          <a:stretch/>
        </p:blipFill>
        <p:spPr>
          <a:xfrm>
            <a:off x="6958808" y="23648"/>
            <a:ext cx="2454259" cy="6810704"/>
          </a:xfrm>
          <a:prstGeom prst="rect">
            <a:avLst/>
          </a:prstGeom>
        </p:spPr>
      </p:pic>
    </p:spTree>
    <p:extLst>
      <p:ext uri="{BB962C8B-B14F-4D97-AF65-F5344CB8AC3E}">
        <p14:creationId xmlns:p14="http://schemas.microsoft.com/office/powerpoint/2010/main" val="2091144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C97640FA-8B18-5996-FC67-576006FEDEEC}"/>
              </a:ext>
            </a:extLst>
          </p:cNvPr>
          <p:cNvGraphicFramePr>
            <a:graphicFrameLocks noChangeAspect="1"/>
          </p:cNvGraphicFramePr>
          <p:nvPr>
            <p:custDataLst>
              <p:tags r:id="rId1"/>
            </p:custDataLst>
            <p:extLst>
              <p:ext uri="{D42A27DB-BD31-4B8C-83A1-F6EECF244321}">
                <p14:modId xmlns:p14="http://schemas.microsoft.com/office/powerpoint/2010/main" val="2480725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3" name="Oggetto 2" hidden="1">
                        <a:extLst>
                          <a:ext uri="{FF2B5EF4-FFF2-40B4-BE49-F238E27FC236}">
                            <a16:creationId xmlns:a16="http://schemas.microsoft.com/office/drawing/2014/main" id="{C97640FA-8B18-5996-FC67-576006FED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Segnaposto immagine 4">
            <a:extLst>
              <a:ext uri="{FF2B5EF4-FFF2-40B4-BE49-F238E27FC236}">
                <a16:creationId xmlns:a16="http://schemas.microsoft.com/office/drawing/2014/main" id="{AEEE5BA3-06F1-4026-A0BB-B08891F46E8E}"/>
              </a:ext>
            </a:extLst>
          </p:cNvPr>
          <p:cNvPicPr>
            <a:picLocks noGrp="1" noChangeAspect="1"/>
          </p:cNvPicPr>
          <p:nvPr>
            <p:ph type="pic" sz="quarter" idx="12"/>
          </p:nvPr>
        </p:nvPicPr>
        <p:blipFill>
          <a:blip r:embed="rId6"/>
          <a:srcRect/>
          <a:stretch/>
        </p:blipFill>
        <p:spPr>
          <a:xfrm>
            <a:off x="0" y="0"/>
            <a:ext cx="8087304" cy="6858000"/>
          </a:xfrm>
        </p:spPr>
      </p:pic>
      <p:pic>
        <p:nvPicPr>
          <p:cNvPr id="16" name="Segnaposto immagine 15">
            <a:extLst>
              <a:ext uri="{FF2B5EF4-FFF2-40B4-BE49-F238E27FC236}">
                <a16:creationId xmlns:a16="http://schemas.microsoft.com/office/drawing/2014/main" id="{4E408D58-0A21-4D16-A8D8-54C17D5AD4A1}"/>
              </a:ext>
            </a:extLst>
          </p:cNvPr>
          <p:cNvPicPr>
            <a:picLocks noGrp="1" noChangeAspect="1"/>
          </p:cNvPicPr>
          <p:nvPr>
            <p:ph type="pic" sz="quarter" idx="13"/>
          </p:nvPr>
        </p:nvPicPr>
        <p:blipFill>
          <a:blip r:embed="rId7"/>
          <a:srcRect/>
          <a:stretch/>
        </p:blipFill>
        <p:spPr/>
      </p:pic>
      <p:grpSp>
        <p:nvGrpSpPr>
          <p:cNvPr id="9" name="Gruppo 8">
            <a:extLst>
              <a:ext uri="{FF2B5EF4-FFF2-40B4-BE49-F238E27FC236}">
                <a16:creationId xmlns:a16="http://schemas.microsoft.com/office/drawing/2014/main" id="{E7969C14-1078-4610-9BC5-74119C9B87BE}"/>
              </a:ext>
              <a:ext uri="{C183D7F6-B498-43B3-948B-1728B52AA6E4}">
                <adec:decorative xmlns:adec="http://schemas.microsoft.com/office/drawing/2017/decorative" val="1"/>
              </a:ext>
            </a:extLst>
          </p:cNvPr>
          <p:cNvGrpSpPr/>
          <p:nvPr/>
        </p:nvGrpSpPr>
        <p:grpSpPr>
          <a:xfrm>
            <a:off x="0" y="3808320"/>
            <a:ext cx="7833208" cy="2547440"/>
            <a:chOff x="0" y="3808320"/>
            <a:chExt cx="7833208" cy="2547440"/>
          </a:xfrm>
        </p:grpSpPr>
        <p:sp>
          <p:nvSpPr>
            <p:cNvPr id="10" name="Figura a mano libera: Forma 9">
              <a:extLst>
                <a:ext uri="{FF2B5EF4-FFF2-40B4-BE49-F238E27FC236}">
                  <a16:creationId xmlns:a16="http://schemas.microsoft.com/office/drawing/2014/main" id="{E531D018-EFA3-4346-AB80-7CE436393D9E}"/>
                </a:ext>
              </a:extLst>
            </p:cNvPr>
            <p:cNvSpPr/>
            <p:nvPr/>
          </p:nvSpPr>
          <p:spPr>
            <a:xfrm>
              <a:off x="0" y="3808320"/>
              <a:ext cx="7833208" cy="2547440"/>
            </a:xfrm>
            <a:custGeom>
              <a:avLst/>
              <a:gdLst>
                <a:gd name="connsiteX0" fmla="*/ 0 w 7833208"/>
                <a:gd name="connsiteY0" fmla="*/ 0 h 2547440"/>
                <a:gd name="connsiteX1" fmla="*/ 7833208 w 7833208"/>
                <a:gd name="connsiteY1" fmla="*/ 0 h 2547440"/>
                <a:gd name="connsiteX2" fmla="*/ 7135846 w 7833208"/>
                <a:gd name="connsiteY2" fmla="*/ 2547440 h 2547440"/>
                <a:gd name="connsiteX3" fmla="*/ 0 w 7833208"/>
                <a:gd name="connsiteY3" fmla="*/ 2547440 h 2547440"/>
              </a:gdLst>
              <a:ahLst/>
              <a:cxnLst>
                <a:cxn ang="0">
                  <a:pos x="connsiteX0" y="connsiteY0"/>
                </a:cxn>
                <a:cxn ang="0">
                  <a:pos x="connsiteX1" y="connsiteY1"/>
                </a:cxn>
                <a:cxn ang="0">
                  <a:pos x="connsiteX2" y="connsiteY2"/>
                </a:cxn>
                <a:cxn ang="0">
                  <a:pos x="connsiteX3" y="connsiteY3"/>
                </a:cxn>
              </a:cxnLst>
              <a:rect l="l" t="t" r="r" b="b"/>
              <a:pathLst>
                <a:path w="7833208" h="2547440">
                  <a:moveTo>
                    <a:pt x="0" y="0"/>
                  </a:moveTo>
                  <a:lnTo>
                    <a:pt x="7833208" y="0"/>
                  </a:lnTo>
                  <a:lnTo>
                    <a:pt x="7135846" y="2547440"/>
                  </a:lnTo>
                  <a:lnTo>
                    <a:pt x="0" y="2547440"/>
                  </a:ln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11" name="Figura a mano libera: Forma 10">
              <a:extLst>
                <a:ext uri="{FF2B5EF4-FFF2-40B4-BE49-F238E27FC236}">
                  <a16:creationId xmlns:a16="http://schemas.microsoft.com/office/drawing/2014/main" id="{FA9D7AC8-80D5-49DC-A585-FCFFA6CA4B66}"/>
                </a:ext>
              </a:extLst>
            </p:cNvPr>
            <p:cNvSpPr/>
            <p:nvPr/>
          </p:nvSpPr>
          <p:spPr>
            <a:xfrm>
              <a:off x="1" y="3808320"/>
              <a:ext cx="7692571" cy="2547440"/>
            </a:xfrm>
            <a:custGeom>
              <a:avLst/>
              <a:gdLst>
                <a:gd name="connsiteX0" fmla="*/ 0 w 7692571"/>
                <a:gd name="connsiteY0" fmla="*/ 0 h 2547440"/>
                <a:gd name="connsiteX1" fmla="*/ 7692571 w 7692571"/>
                <a:gd name="connsiteY1" fmla="*/ 0 h 2547440"/>
                <a:gd name="connsiteX2" fmla="*/ 6995209 w 7692571"/>
                <a:gd name="connsiteY2" fmla="*/ 2547440 h 2547440"/>
                <a:gd name="connsiteX3" fmla="*/ 0 w 7692571"/>
                <a:gd name="connsiteY3" fmla="*/ 2547440 h 2547440"/>
              </a:gdLst>
              <a:ahLst/>
              <a:cxnLst>
                <a:cxn ang="0">
                  <a:pos x="connsiteX0" y="connsiteY0"/>
                </a:cxn>
                <a:cxn ang="0">
                  <a:pos x="connsiteX1" y="connsiteY1"/>
                </a:cxn>
                <a:cxn ang="0">
                  <a:pos x="connsiteX2" y="connsiteY2"/>
                </a:cxn>
                <a:cxn ang="0">
                  <a:pos x="connsiteX3" y="connsiteY3"/>
                </a:cxn>
              </a:cxnLst>
              <a:rect l="l" t="t" r="r" b="b"/>
              <a:pathLst>
                <a:path w="7692571" h="2547440">
                  <a:moveTo>
                    <a:pt x="0" y="0"/>
                  </a:moveTo>
                  <a:lnTo>
                    <a:pt x="7692571" y="0"/>
                  </a:lnTo>
                  <a:lnTo>
                    <a:pt x="6995209" y="2547440"/>
                  </a:lnTo>
                  <a:lnTo>
                    <a:pt x="0" y="254744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grpSp>
      <p:sp>
        <p:nvSpPr>
          <p:cNvPr id="33" name="Titolo 32" descr="titolo">
            <a:extLst>
              <a:ext uri="{FF2B5EF4-FFF2-40B4-BE49-F238E27FC236}">
                <a16:creationId xmlns:a16="http://schemas.microsoft.com/office/drawing/2014/main" id="{18CDD97B-6E25-4FB4-B239-493E54AA0830}"/>
              </a:ext>
            </a:extLst>
          </p:cNvPr>
          <p:cNvSpPr>
            <a:spLocks noGrp="1"/>
          </p:cNvSpPr>
          <p:nvPr>
            <p:ph type="title"/>
          </p:nvPr>
        </p:nvSpPr>
        <p:spPr/>
        <p:txBody>
          <a:bodyPr vert="horz" rtlCol="0"/>
          <a:lstStyle/>
          <a:p>
            <a:pPr rtl="0"/>
            <a:r>
              <a:rPr lang="it-IT" sz="3600" dirty="0">
                <a:solidFill>
                  <a:schemeClr val="tx1"/>
                </a:solidFill>
              </a:rPr>
              <a:t>5.</a:t>
            </a:r>
            <a:br>
              <a:rPr lang="it-IT" sz="3600" dirty="0">
                <a:solidFill>
                  <a:schemeClr val="tx1"/>
                </a:solidFill>
              </a:rPr>
            </a:br>
            <a:r>
              <a:rPr lang="it-IT" sz="3600" dirty="0">
                <a:solidFill>
                  <a:schemeClr val="tx1"/>
                </a:solidFill>
              </a:rPr>
              <a:t>Ricerca-azione</a:t>
            </a:r>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3" name="Segnaposto numero diapositiva 5" descr="numero diapositiva">
            <a:extLst>
              <a:ext uri="{FF2B5EF4-FFF2-40B4-BE49-F238E27FC236}">
                <a16:creationId xmlns:a16="http://schemas.microsoft.com/office/drawing/2014/main" id="{D803F682-0E68-4ECD-A92D-F73743FF2E6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29</a:t>
            </a:fld>
            <a:endParaRPr lang="it-IT" sz="1200">
              <a:solidFill>
                <a:schemeClr val="bg1"/>
              </a:solidFill>
            </a:endParaRPr>
          </a:p>
        </p:txBody>
      </p:sp>
    </p:spTree>
    <p:extLst>
      <p:ext uri="{BB962C8B-B14F-4D97-AF65-F5344CB8AC3E}">
        <p14:creationId xmlns:p14="http://schemas.microsoft.com/office/powerpoint/2010/main" val="25096602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351BCB82-4987-1A53-52C6-47070728AFB9}"/>
              </a:ext>
            </a:extLst>
          </p:cNvPr>
          <p:cNvGraphicFramePr>
            <a:graphicFrameLocks noChangeAspect="1"/>
          </p:cNvGraphicFramePr>
          <p:nvPr>
            <p:custDataLst>
              <p:tags r:id="rId1"/>
            </p:custDataLst>
            <p:extLst>
              <p:ext uri="{D42A27DB-BD31-4B8C-83A1-F6EECF244321}">
                <p14:modId xmlns:p14="http://schemas.microsoft.com/office/powerpoint/2010/main" val="2671648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Segnaposto immagine 4" descr="persona che legge un libro">
            <a:extLst>
              <a:ext uri="{FF2B5EF4-FFF2-40B4-BE49-F238E27FC236}">
                <a16:creationId xmlns:a16="http://schemas.microsoft.com/office/drawing/2014/main" id="{70316739-C7FA-4487-B86B-6CE17B09B020}"/>
              </a:ext>
            </a:extLst>
          </p:cNvPr>
          <p:cNvPicPr>
            <a:picLocks noGrp="1" noChangeAspect="1"/>
          </p:cNvPicPr>
          <p:nvPr>
            <p:ph type="pic" sz="quarter" idx="12"/>
          </p:nvPr>
        </p:nvPicPr>
        <p:blipFill rotWithShape="1">
          <a:blip r:embed="rId6" cstate="email">
            <a:extLst>
              <a:ext uri="{28A0092B-C50C-407E-A947-70E740481C1C}">
                <a14:useLocalDpi xmlns:a14="http://schemas.microsoft.com/office/drawing/2010/main"/>
              </a:ext>
            </a:extLst>
          </a:blip>
          <a:srcRect l="48" r="48"/>
          <a:stretch/>
        </p:blipFill>
        <p:spPr>
          <a:xfrm>
            <a:off x="0" y="0"/>
            <a:ext cx="8087304" cy="6858000"/>
          </a:xfrm>
        </p:spPr>
      </p:pic>
      <p:pic>
        <p:nvPicPr>
          <p:cNvPr id="16" name="Segnaposto immagine 15" descr="ragazzo davanti agli scaffali di una biblioteca">
            <a:extLst>
              <a:ext uri="{FF2B5EF4-FFF2-40B4-BE49-F238E27FC236}">
                <a16:creationId xmlns:a16="http://schemas.microsoft.com/office/drawing/2014/main" id="{141CBC39-54B4-4424-84FB-FDAABDFFAE1A}"/>
              </a:ext>
            </a:extLst>
          </p:cNvPr>
          <p:cNvPicPr>
            <a:picLocks noGrp="1" noChangeAspect="1"/>
          </p:cNvPicPr>
          <p:nvPr>
            <p:ph type="pic" sz="quarter" idx="13"/>
          </p:nvPr>
        </p:nvPicPr>
        <p:blipFill rotWithShape="1">
          <a:blip r:embed="rId7" cstate="screen">
            <a:extLst>
              <a:ext uri="{28A0092B-C50C-407E-A947-70E740481C1C}">
                <a14:useLocalDpi xmlns:a14="http://schemas.microsoft.com/office/drawing/2010/main"/>
              </a:ext>
            </a:extLst>
          </a:blip>
          <a:srcRect l="13" r="13"/>
          <a:stretch/>
        </p:blipFill>
        <p:spPr>
          <a:xfrm>
            <a:off x="6464300" y="0"/>
            <a:ext cx="5727700" cy="6858000"/>
          </a:xfrm>
        </p:spPr>
      </p:pic>
      <p:grpSp>
        <p:nvGrpSpPr>
          <p:cNvPr id="9" name="Gruppo 8">
            <a:extLst>
              <a:ext uri="{FF2B5EF4-FFF2-40B4-BE49-F238E27FC236}">
                <a16:creationId xmlns:a16="http://schemas.microsoft.com/office/drawing/2014/main" id="{E7969C14-1078-4610-9BC5-74119C9B87BE}"/>
              </a:ext>
              <a:ext uri="{C183D7F6-B498-43B3-948B-1728B52AA6E4}">
                <adec:decorative xmlns:adec="http://schemas.microsoft.com/office/drawing/2017/decorative" val="1"/>
              </a:ext>
            </a:extLst>
          </p:cNvPr>
          <p:cNvGrpSpPr/>
          <p:nvPr/>
        </p:nvGrpSpPr>
        <p:grpSpPr>
          <a:xfrm>
            <a:off x="0" y="3808320"/>
            <a:ext cx="7833208" cy="2547440"/>
            <a:chOff x="0" y="3808320"/>
            <a:chExt cx="7833208" cy="2547440"/>
          </a:xfrm>
        </p:grpSpPr>
        <p:sp>
          <p:nvSpPr>
            <p:cNvPr id="10" name="Figura a mano libera: Forma 9">
              <a:extLst>
                <a:ext uri="{FF2B5EF4-FFF2-40B4-BE49-F238E27FC236}">
                  <a16:creationId xmlns:a16="http://schemas.microsoft.com/office/drawing/2014/main" id="{E531D018-EFA3-4346-AB80-7CE436393D9E}"/>
                </a:ext>
              </a:extLst>
            </p:cNvPr>
            <p:cNvSpPr/>
            <p:nvPr/>
          </p:nvSpPr>
          <p:spPr>
            <a:xfrm>
              <a:off x="0" y="3808320"/>
              <a:ext cx="7833208" cy="2547440"/>
            </a:xfrm>
            <a:custGeom>
              <a:avLst/>
              <a:gdLst>
                <a:gd name="connsiteX0" fmla="*/ 0 w 7833208"/>
                <a:gd name="connsiteY0" fmla="*/ 0 h 2547440"/>
                <a:gd name="connsiteX1" fmla="*/ 7833208 w 7833208"/>
                <a:gd name="connsiteY1" fmla="*/ 0 h 2547440"/>
                <a:gd name="connsiteX2" fmla="*/ 7135846 w 7833208"/>
                <a:gd name="connsiteY2" fmla="*/ 2547440 h 2547440"/>
                <a:gd name="connsiteX3" fmla="*/ 0 w 7833208"/>
                <a:gd name="connsiteY3" fmla="*/ 2547440 h 2547440"/>
              </a:gdLst>
              <a:ahLst/>
              <a:cxnLst>
                <a:cxn ang="0">
                  <a:pos x="connsiteX0" y="connsiteY0"/>
                </a:cxn>
                <a:cxn ang="0">
                  <a:pos x="connsiteX1" y="connsiteY1"/>
                </a:cxn>
                <a:cxn ang="0">
                  <a:pos x="connsiteX2" y="connsiteY2"/>
                </a:cxn>
                <a:cxn ang="0">
                  <a:pos x="connsiteX3" y="connsiteY3"/>
                </a:cxn>
              </a:cxnLst>
              <a:rect l="l" t="t" r="r" b="b"/>
              <a:pathLst>
                <a:path w="7833208" h="2547440">
                  <a:moveTo>
                    <a:pt x="0" y="0"/>
                  </a:moveTo>
                  <a:lnTo>
                    <a:pt x="7833208" y="0"/>
                  </a:lnTo>
                  <a:lnTo>
                    <a:pt x="7135846" y="2547440"/>
                  </a:lnTo>
                  <a:lnTo>
                    <a:pt x="0" y="2547440"/>
                  </a:ln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11" name="Figura a mano libera: Forma 10">
              <a:extLst>
                <a:ext uri="{FF2B5EF4-FFF2-40B4-BE49-F238E27FC236}">
                  <a16:creationId xmlns:a16="http://schemas.microsoft.com/office/drawing/2014/main" id="{FA9D7AC8-80D5-49DC-A585-FCFFA6CA4B66}"/>
                </a:ext>
              </a:extLst>
            </p:cNvPr>
            <p:cNvSpPr/>
            <p:nvPr/>
          </p:nvSpPr>
          <p:spPr>
            <a:xfrm>
              <a:off x="1" y="3808320"/>
              <a:ext cx="7692571" cy="2547440"/>
            </a:xfrm>
            <a:custGeom>
              <a:avLst/>
              <a:gdLst>
                <a:gd name="connsiteX0" fmla="*/ 0 w 7692571"/>
                <a:gd name="connsiteY0" fmla="*/ 0 h 2547440"/>
                <a:gd name="connsiteX1" fmla="*/ 7692571 w 7692571"/>
                <a:gd name="connsiteY1" fmla="*/ 0 h 2547440"/>
                <a:gd name="connsiteX2" fmla="*/ 6995209 w 7692571"/>
                <a:gd name="connsiteY2" fmla="*/ 2547440 h 2547440"/>
                <a:gd name="connsiteX3" fmla="*/ 0 w 7692571"/>
                <a:gd name="connsiteY3" fmla="*/ 2547440 h 2547440"/>
              </a:gdLst>
              <a:ahLst/>
              <a:cxnLst>
                <a:cxn ang="0">
                  <a:pos x="connsiteX0" y="connsiteY0"/>
                </a:cxn>
                <a:cxn ang="0">
                  <a:pos x="connsiteX1" y="connsiteY1"/>
                </a:cxn>
                <a:cxn ang="0">
                  <a:pos x="connsiteX2" y="connsiteY2"/>
                </a:cxn>
                <a:cxn ang="0">
                  <a:pos x="connsiteX3" y="connsiteY3"/>
                </a:cxn>
              </a:cxnLst>
              <a:rect l="l" t="t" r="r" b="b"/>
              <a:pathLst>
                <a:path w="7692571" h="2547440">
                  <a:moveTo>
                    <a:pt x="0" y="0"/>
                  </a:moveTo>
                  <a:lnTo>
                    <a:pt x="7692571" y="0"/>
                  </a:lnTo>
                  <a:lnTo>
                    <a:pt x="6995209" y="2547440"/>
                  </a:lnTo>
                  <a:lnTo>
                    <a:pt x="0" y="254744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grpSp>
      <p:sp>
        <p:nvSpPr>
          <p:cNvPr id="33" name="Titolo 32" descr="titolo">
            <a:extLst>
              <a:ext uri="{FF2B5EF4-FFF2-40B4-BE49-F238E27FC236}">
                <a16:creationId xmlns:a16="http://schemas.microsoft.com/office/drawing/2014/main" id="{18CDD97B-6E25-4FB4-B239-493E54AA0830}"/>
              </a:ext>
            </a:extLst>
          </p:cNvPr>
          <p:cNvSpPr>
            <a:spLocks noGrp="1"/>
          </p:cNvSpPr>
          <p:nvPr>
            <p:ph type="title"/>
          </p:nvPr>
        </p:nvSpPr>
        <p:spPr>
          <a:xfrm>
            <a:off x="785586" y="4081468"/>
            <a:ext cx="5538078" cy="822960"/>
          </a:xfrm>
        </p:spPr>
        <p:txBody>
          <a:bodyPr vert="horz" rtlCol="0"/>
          <a:lstStyle/>
          <a:p>
            <a:pPr rtl="0"/>
            <a:r>
              <a:rPr lang="it-IT" sz="3600" dirty="0">
                <a:solidFill>
                  <a:schemeClr val="bg1"/>
                </a:solidFill>
              </a:rPr>
              <a:t>1.</a:t>
            </a:r>
            <a:br>
              <a:rPr lang="it-IT" sz="3600" dirty="0">
                <a:solidFill>
                  <a:schemeClr val="bg1"/>
                </a:solidFill>
              </a:rPr>
            </a:br>
            <a:r>
              <a:rPr lang="it-IT" sz="3600" dirty="0">
                <a:solidFill>
                  <a:schemeClr val="bg1"/>
                </a:solidFill>
              </a:rPr>
              <a:t>Formarsi per sperimentare</a:t>
            </a:r>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2" name="Segnaposto numero diapositiva 5" descr="numero diapositiva">
            <a:extLst>
              <a:ext uri="{FF2B5EF4-FFF2-40B4-BE49-F238E27FC236}">
                <a16:creationId xmlns:a16="http://schemas.microsoft.com/office/drawing/2014/main" id="{EC784E4D-7E61-4FDC-AD6A-E38867722409}"/>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3</a:t>
            </a:fld>
            <a:endParaRPr lang="it-IT" sz="1200">
              <a:solidFill>
                <a:schemeClr val="bg1"/>
              </a:solidFill>
            </a:endParaRPr>
          </a:p>
        </p:txBody>
      </p:sp>
    </p:spTree>
    <p:extLst>
      <p:ext uri="{BB962C8B-B14F-4D97-AF65-F5344CB8AC3E}">
        <p14:creationId xmlns:p14="http://schemas.microsoft.com/office/powerpoint/2010/main" val="28199488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ggetto 11" hidden="1">
            <a:extLst>
              <a:ext uri="{FF2B5EF4-FFF2-40B4-BE49-F238E27FC236}">
                <a16:creationId xmlns:a16="http://schemas.microsoft.com/office/drawing/2014/main" id="{339E7B20-A5FB-10F7-A6FE-A4C14C115B08}"/>
              </a:ext>
            </a:extLst>
          </p:cNvPr>
          <p:cNvGraphicFramePr>
            <a:graphicFrameLocks noChangeAspect="1"/>
          </p:cNvGraphicFramePr>
          <p:nvPr>
            <p:custDataLst>
              <p:tags r:id="rId1"/>
            </p:custDataLst>
            <p:extLst>
              <p:ext uri="{D42A27DB-BD31-4B8C-83A1-F6EECF244321}">
                <p14:modId xmlns:p14="http://schemas.microsoft.com/office/powerpoint/2010/main" val="283570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descr="vista dall'alto di un ragazzo seduto con il suo portatile">
            <a:extLst>
              <a:ext uri="{FF2B5EF4-FFF2-40B4-BE49-F238E27FC236}">
                <a16:creationId xmlns:a16="http://schemas.microsoft.com/office/drawing/2014/main" id="{3C2A7DCB-B005-424A-8446-ACA533D0BC8B}"/>
              </a:ext>
            </a:extLst>
          </p:cNvPr>
          <p:cNvPicPr>
            <a:picLocks noGrp="1" noChangeAspect="1"/>
          </p:cNvPicPr>
          <p:nvPr>
            <p:ph type="pic" sz="quarter" idx="10"/>
          </p:nvPr>
        </p:nvPicPr>
        <p:blipFill>
          <a:blip r:embed="rId6" cstate="email">
            <a:extLst>
              <a:ext uri="{28A0092B-C50C-407E-A947-70E740481C1C}">
                <a14:useLocalDpi xmlns:a14="http://schemas.microsoft.com/office/drawing/2010/main"/>
              </a:ext>
            </a:extLst>
          </a:blip>
          <a:srcRect/>
          <a:stretch>
            <a:fillRect/>
          </a:stretch>
        </p:blipFill>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627378"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dirty="0"/>
              <a:t>La ricerca-azione</a:t>
            </a:r>
          </a:p>
        </p:txBody>
      </p:sp>
      <p:pic>
        <p:nvPicPr>
          <p:cNvPr id="35" name="Segnaposto contenuto 34" descr="Libro aperto">
            <a:extLst>
              <a:ext uri="{FF2B5EF4-FFF2-40B4-BE49-F238E27FC236}">
                <a16:creationId xmlns:a16="http://schemas.microsoft.com/office/drawing/2014/main" id="{56174A3F-A7B3-40BE-88BD-1796890E4B44}"/>
              </a:ext>
            </a:extLst>
          </p:cNvPr>
          <p:cNvPicPr>
            <a:picLocks noGrp="1" noChangeAspect="1"/>
          </p:cNvPicPr>
          <p:nvPr>
            <p:ph sz="quarter" idx="13"/>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503" y="1388436"/>
            <a:ext cx="548640" cy="548640"/>
          </a:xfrm>
        </p:spPr>
      </p:pic>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a:xfrm>
            <a:off x="731782" y="1493543"/>
            <a:ext cx="7676493" cy="3368675"/>
          </a:xfrm>
        </p:spPr>
        <p:txBody>
          <a:bodyPr rtlCol="0"/>
          <a:lstStyle/>
          <a:p>
            <a:pPr rtl="0"/>
            <a:r>
              <a:rPr lang="it-IT" dirty="0"/>
              <a:t>A livello di pratica, la formazione deve ispirarsi a criteri di </a:t>
            </a:r>
            <a:r>
              <a:rPr lang="it-IT" b="1" dirty="0"/>
              <a:t>ricerca-azione</a:t>
            </a:r>
            <a:r>
              <a:rPr lang="it-IT" dirty="0"/>
              <a:t>, orientarsi alla produzione di </a:t>
            </a:r>
            <a:r>
              <a:rPr lang="it-IT" b="1" dirty="0"/>
              <a:t>ipotesi</a:t>
            </a:r>
            <a:r>
              <a:rPr lang="it-IT" dirty="0"/>
              <a:t> </a:t>
            </a:r>
            <a:r>
              <a:rPr lang="it-IT" b="1" dirty="0"/>
              <a:t>didattiche</a:t>
            </a:r>
            <a:r>
              <a:rPr lang="it-IT" dirty="0"/>
              <a:t>, alla loro </a:t>
            </a:r>
            <a:r>
              <a:rPr lang="it-IT" b="1" dirty="0"/>
              <a:t>sperimentazione</a:t>
            </a:r>
            <a:r>
              <a:rPr lang="it-IT" dirty="0"/>
              <a:t> in classe, alla loro </a:t>
            </a:r>
            <a:r>
              <a:rPr lang="it-IT" b="1" dirty="0"/>
              <a:t>validazione</a:t>
            </a:r>
            <a:r>
              <a:rPr lang="it-IT" dirty="0"/>
              <a:t> (Piano nazionale della formazione p.65)</a:t>
            </a:r>
          </a:p>
          <a:p>
            <a:pPr rtl="0"/>
            <a:r>
              <a:rPr lang="it-IT" dirty="0"/>
              <a:t>Questo è un modo di concepire la ricerca, che si pone l'obiettivo non tanto di approfondire determinate conoscenze teoriche, ma di </a:t>
            </a:r>
            <a:r>
              <a:rPr lang="it-IT" b="1" dirty="0"/>
              <a:t>analizzare una pratica relativa ad un campo di  esperienza </a:t>
            </a:r>
            <a:r>
              <a:rPr lang="it-IT" dirty="0"/>
              <a:t>(ad esempio, la pratica educativa) da parte di un attore sociale, con lo scopo di introdurre, nella pratica stessa, dei </a:t>
            </a:r>
            <a:r>
              <a:rPr lang="it-IT" b="1" dirty="0"/>
              <a:t>cambiamenti</a:t>
            </a:r>
            <a:r>
              <a:rPr lang="it-IT" dirty="0"/>
              <a:t> </a:t>
            </a:r>
            <a:r>
              <a:rPr lang="it-IT" b="1" dirty="0"/>
              <a:t>migliorativi</a:t>
            </a:r>
            <a:r>
              <a:rPr lang="it-IT" dirty="0"/>
              <a:t>.</a:t>
            </a:r>
          </a:p>
          <a:p>
            <a:pPr rtl="0"/>
            <a:r>
              <a:rPr lang="it-IT" dirty="0"/>
              <a:t>Teorizzata anni 40 psicologo tedesco Lewin «Action </a:t>
            </a:r>
            <a:r>
              <a:rPr lang="it-IT" dirty="0" err="1"/>
              <a:t>research</a:t>
            </a:r>
            <a:r>
              <a:rPr lang="it-IT" dirty="0"/>
              <a:t>», ha trovato ampio spazio nella pedagogia (Francia), soprattutto in ambito scolastico (Inghilterra: Elliot)</a:t>
            </a:r>
          </a:p>
          <a:p>
            <a:pPr rtl="0"/>
            <a:r>
              <a:rPr lang="it-IT" dirty="0"/>
              <a:t>La ricerca – azione è uno strumento adatto per affrontare quegli aspetti dell'azione formativa e della didattica che sono percepiti come </a:t>
            </a:r>
            <a:r>
              <a:rPr lang="it-IT" b="1" dirty="0"/>
              <a:t>problematici</a:t>
            </a:r>
            <a:r>
              <a:rPr lang="it-IT" dirty="0"/>
              <a:t> dagli insegnanti, al fine di trovare modalità  percorribili di </a:t>
            </a:r>
            <a:r>
              <a:rPr lang="it-IT" b="1" dirty="0"/>
              <a:t>soluzione</a:t>
            </a:r>
            <a:r>
              <a:rPr lang="it-IT" dirty="0"/>
              <a:t>. Determinante è, per Elliott, la possibilità di dar vita ad un </a:t>
            </a:r>
            <a:r>
              <a:rPr lang="it-IT" b="1" dirty="0"/>
              <a:t>gruppo di ricerca </a:t>
            </a:r>
            <a:r>
              <a:rPr lang="it-IT" dirty="0"/>
              <a:t>che riunisca attori e ricercatori, in condizioni di pari dignità.</a:t>
            </a:r>
          </a:p>
          <a:p>
            <a:pPr rtl="0"/>
            <a:r>
              <a:rPr lang="it-IT" u="sng" dirty="0"/>
              <a:t>La ricerca si genera attraverso l’azione, l’azione di cambiamento attraverso la ricerca</a:t>
            </a:r>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44" name="Segnaposto numero diapositiva 5" descr="Numero diapositiva">
            <a:extLst>
              <a:ext uri="{FF2B5EF4-FFF2-40B4-BE49-F238E27FC236}">
                <a16:creationId xmlns:a16="http://schemas.microsoft.com/office/drawing/2014/main" id="{11457662-C1A5-4B93-8E30-88025E27C462}"/>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30</a:t>
            </a:fld>
            <a:endParaRPr lang="it-IT" sz="1200">
              <a:solidFill>
                <a:schemeClr val="bg1"/>
              </a:solidFill>
            </a:endParaRPr>
          </a:p>
        </p:txBody>
      </p:sp>
      <p:sp>
        <p:nvSpPr>
          <p:cNvPr id="2" name="Sottotitolo 2">
            <a:extLst>
              <a:ext uri="{FF2B5EF4-FFF2-40B4-BE49-F238E27FC236}">
                <a16:creationId xmlns:a16="http://schemas.microsoft.com/office/drawing/2014/main" id="{9120153C-0C48-2FFE-B3F2-CF4A29F80295}"/>
              </a:ext>
            </a:extLst>
          </p:cNvPr>
          <p:cNvSpPr txBox="1">
            <a:spLocks/>
          </p:cNvSpPr>
          <p:nvPr/>
        </p:nvSpPr>
        <p:spPr>
          <a:xfrm>
            <a:off x="818606" y="5366434"/>
            <a:ext cx="6706143" cy="521208"/>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lang="en-US" sz="1800" kern="1200" dirty="0">
                <a:solidFill>
                  <a:srgbClr val="B2606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Io non ho fallito 5.000 esperimenti. Ho avuto successo 5.000 volte, gli insuccessi mi hanno insegnato che quei materiali non funzionavano.»</a:t>
            </a:r>
          </a:p>
          <a:p>
            <a:r>
              <a:rPr lang="it-IT" dirty="0"/>
              <a:t>(Thomas Alva Edison)</a:t>
            </a:r>
          </a:p>
        </p:txBody>
      </p:sp>
      <p:grpSp>
        <p:nvGrpSpPr>
          <p:cNvPr id="3" name="Gruppo 2">
            <a:extLst>
              <a:ext uri="{FF2B5EF4-FFF2-40B4-BE49-F238E27FC236}">
                <a16:creationId xmlns:a16="http://schemas.microsoft.com/office/drawing/2014/main" id="{AD1B62FE-F0E3-C5C2-A2A6-E2B91A3326EC}"/>
              </a:ext>
            </a:extLst>
          </p:cNvPr>
          <p:cNvGrpSpPr/>
          <p:nvPr/>
        </p:nvGrpSpPr>
        <p:grpSpPr>
          <a:xfrm>
            <a:off x="3810398" y="5028633"/>
            <a:ext cx="676275" cy="114300"/>
            <a:chOff x="9330846" y="5054600"/>
            <a:chExt cx="676275" cy="114300"/>
          </a:xfrm>
        </p:grpSpPr>
        <p:sp>
          <p:nvSpPr>
            <p:cNvPr id="5" name="Ovale 4">
              <a:extLst>
                <a:ext uri="{FF2B5EF4-FFF2-40B4-BE49-F238E27FC236}">
                  <a16:creationId xmlns:a16="http://schemas.microsoft.com/office/drawing/2014/main" id="{CA15816D-3639-B2B9-066E-EF0612901FF7}"/>
                </a:ext>
              </a:extLst>
            </p:cNvPr>
            <p:cNvSpPr/>
            <p:nvPr/>
          </p:nvSpPr>
          <p:spPr>
            <a:xfrm>
              <a:off x="933084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6" name="Ovale 5">
              <a:extLst>
                <a:ext uri="{FF2B5EF4-FFF2-40B4-BE49-F238E27FC236}">
                  <a16:creationId xmlns:a16="http://schemas.microsoft.com/office/drawing/2014/main" id="{3DBC60E7-4B7E-B6DA-33B6-735522A3C3DA}"/>
                </a:ext>
              </a:extLst>
            </p:cNvPr>
            <p:cNvSpPr/>
            <p:nvPr/>
          </p:nvSpPr>
          <p:spPr>
            <a:xfrm>
              <a:off x="951817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8" name="Ovale 7">
              <a:extLst>
                <a:ext uri="{FF2B5EF4-FFF2-40B4-BE49-F238E27FC236}">
                  <a16:creationId xmlns:a16="http://schemas.microsoft.com/office/drawing/2014/main" id="{678F05BF-3A2E-E300-F972-DA0CF92D3646}"/>
                </a:ext>
              </a:extLst>
            </p:cNvPr>
            <p:cNvSpPr/>
            <p:nvPr/>
          </p:nvSpPr>
          <p:spPr>
            <a:xfrm>
              <a:off x="970549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3" name="Ovale 12">
              <a:extLst>
                <a:ext uri="{FF2B5EF4-FFF2-40B4-BE49-F238E27FC236}">
                  <a16:creationId xmlns:a16="http://schemas.microsoft.com/office/drawing/2014/main" id="{07389231-7705-E9BC-BF04-C6141CDC36A1}"/>
                </a:ext>
              </a:extLst>
            </p:cNvPr>
            <p:cNvSpPr/>
            <p:nvPr/>
          </p:nvSpPr>
          <p:spPr>
            <a:xfrm>
              <a:off x="989282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Tree>
    <p:extLst>
      <p:ext uri="{BB962C8B-B14F-4D97-AF65-F5344CB8AC3E}">
        <p14:creationId xmlns:p14="http://schemas.microsoft.com/office/powerpoint/2010/main" val="39481219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60D64C49-36A3-3870-F9D7-95CCDD7ECF7B}"/>
              </a:ext>
            </a:extLst>
          </p:cNvPr>
          <p:cNvGraphicFramePr>
            <a:graphicFrameLocks noChangeAspect="1"/>
          </p:cNvGraphicFramePr>
          <p:nvPr>
            <p:custDataLst>
              <p:tags r:id="rId1"/>
            </p:custDataLst>
            <p:extLst>
              <p:ext uri="{D42A27DB-BD31-4B8C-83A1-F6EECF244321}">
                <p14:modId xmlns:p14="http://schemas.microsoft.com/office/powerpoint/2010/main" val="19948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a:extLst>
              <a:ext uri="{FF2B5EF4-FFF2-40B4-BE49-F238E27FC236}">
                <a16:creationId xmlns:a16="http://schemas.microsoft.com/office/drawing/2014/main" id="{3C2A7DCB-B005-424A-8446-ACA533D0BC8B}"/>
              </a:ext>
            </a:extLst>
          </p:cNvPr>
          <p:cNvPicPr>
            <a:picLocks noGrp="1" noChangeAspect="1"/>
          </p:cNvPicPr>
          <p:nvPr>
            <p:ph type="pic" sz="quarter" idx="10"/>
          </p:nvPr>
        </p:nvPicPr>
        <p:blipFill>
          <a:blip r:embed="rId6"/>
          <a:srcRect/>
          <a:stretch/>
        </p:blipFill>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627378"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dirty="0"/>
              <a:t>Il metodo della ricerca-azione</a:t>
            </a:r>
          </a:p>
        </p:txBody>
      </p:sp>
      <p:pic>
        <p:nvPicPr>
          <p:cNvPr id="35" name="Segnaposto contenuto 34" descr="Libro aperto">
            <a:extLst>
              <a:ext uri="{FF2B5EF4-FFF2-40B4-BE49-F238E27FC236}">
                <a16:creationId xmlns:a16="http://schemas.microsoft.com/office/drawing/2014/main" id="{56174A3F-A7B3-40BE-88BD-1796890E4B44}"/>
              </a:ext>
            </a:extLst>
          </p:cNvPr>
          <p:cNvPicPr>
            <a:picLocks noGrp="1" noChangeAspect="1"/>
          </p:cNvPicPr>
          <p:nvPr>
            <p:ph sz="quarter" idx="13"/>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503" y="1388436"/>
            <a:ext cx="548640" cy="548640"/>
          </a:xfrm>
        </p:spPr>
      </p:pic>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44" name="Segnaposto numero diapositiva 5" descr="Numero diapositiva">
            <a:extLst>
              <a:ext uri="{FF2B5EF4-FFF2-40B4-BE49-F238E27FC236}">
                <a16:creationId xmlns:a16="http://schemas.microsoft.com/office/drawing/2014/main" id="{11457662-C1A5-4B93-8E30-88025E27C462}"/>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31</a:t>
            </a:fld>
            <a:endParaRPr lang="it-IT" sz="1200">
              <a:solidFill>
                <a:schemeClr val="bg1"/>
              </a:solidFill>
            </a:endParaRPr>
          </a:p>
        </p:txBody>
      </p:sp>
      <p:sp>
        <p:nvSpPr>
          <p:cNvPr id="6" name="object 3">
            <a:extLst>
              <a:ext uri="{FF2B5EF4-FFF2-40B4-BE49-F238E27FC236}">
                <a16:creationId xmlns:a16="http://schemas.microsoft.com/office/drawing/2014/main" id="{5599DF71-FB13-B53E-FEAB-B398E1EF0074}"/>
              </a:ext>
            </a:extLst>
          </p:cNvPr>
          <p:cNvSpPr txBox="1"/>
          <p:nvPr/>
        </p:nvSpPr>
        <p:spPr>
          <a:xfrm>
            <a:off x="5105000" y="1602830"/>
            <a:ext cx="1143635" cy="777240"/>
          </a:xfrm>
          <a:prstGeom prst="rect">
            <a:avLst/>
          </a:prstGeom>
        </p:spPr>
        <p:txBody>
          <a:bodyPr vert="horz" wrap="square" lIns="0" tIns="29209" rIns="0" bIns="0" rtlCol="0">
            <a:spAutoFit/>
          </a:bodyPr>
          <a:lstStyle/>
          <a:p>
            <a:pPr marL="12700" marR="5080" indent="65405" algn="just">
              <a:lnSpc>
                <a:spcPct val="92700"/>
              </a:lnSpc>
              <a:spcBef>
                <a:spcPts val="229"/>
              </a:spcBef>
            </a:pPr>
            <a:r>
              <a:rPr sz="1300" b="1" spc="5" dirty="0">
                <a:latin typeface="Corbel"/>
                <a:cs typeface="Corbel"/>
              </a:rPr>
              <a:t>1. </a:t>
            </a:r>
            <a:r>
              <a:rPr sz="1300" b="1" dirty="0">
                <a:latin typeface="Corbel"/>
                <a:cs typeface="Corbel"/>
              </a:rPr>
              <a:t>Definizione </a:t>
            </a:r>
            <a:r>
              <a:rPr sz="1300" b="1" spc="5" dirty="0">
                <a:latin typeface="Corbel"/>
                <a:cs typeface="Corbel"/>
              </a:rPr>
              <a:t> del problema </a:t>
            </a:r>
            <a:r>
              <a:rPr sz="1300" b="1" spc="10" dirty="0">
                <a:latin typeface="Corbel"/>
                <a:cs typeface="Corbel"/>
              </a:rPr>
              <a:t>e </a:t>
            </a:r>
            <a:r>
              <a:rPr sz="1300" b="1" spc="15" dirty="0">
                <a:latin typeface="Corbel"/>
                <a:cs typeface="Corbel"/>
              </a:rPr>
              <a:t> </a:t>
            </a:r>
            <a:r>
              <a:rPr sz="1300" b="1" spc="5" dirty="0">
                <a:latin typeface="Corbel"/>
                <a:cs typeface="Corbel"/>
              </a:rPr>
              <a:t>dell</a:t>
            </a:r>
            <a:r>
              <a:rPr sz="1300" b="1" spc="-70" dirty="0">
                <a:latin typeface="Corbel"/>
                <a:cs typeface="Corbel"/>
              </a:rPr>
              <a:t>’</a:t>
            </a:r>
            <a:r>
              <a:rPr sz="1300" b="1" dirty="0">
                <a:latin typeface="Corbel"/>
                <a:cs typeface="Corbel"/>
              </a:rPr>
              <a:t>obie</a:t>
            </a:r>
            <a:r>
              <a:rPr sz="1300" b="1" spc="5" dirty="0">
                <a:latin typeface="Corbel"/>
                <a:cs typeface="Corbel"/>
              </a:rPr>
              <a:t>tt</a:t>
            </a:r>
            <a:r>
              <a:rPr sz="1300" b="1" dirty="0">
                <a:latin typeface="Corbel"/>
                <a:cs typeface="Corbel"/>
              </a:rPr>
              <a:t>iv</a:t>
            </a:r>
            <a:r>
              <a:rPr sz="1300" b="1" spc="10" dirty="0">
                <a:latin typeface="Corbel"/>
                <a:cs typeface="Corbel"/>
              </a:rPr>
              <a:t>o</a:t>
            </a:r>
            <a:r>
              <a:rPr sz="1300" b="1" spc="-20" dirty="0">
                <a:latin typeface="Corbel"/>
                <a:cs typeface="Corbel"/>
              </a:rPr>
              <a:t> </a:t>
            </a:r>
            <a:r>
              <a:rPr sz="1300" b="1" spc="5" dirty="0">
                <a:latin typeface="Corbel"/>
                <a:cs typeface="Corbel"/>
              </a:rPr>
              <a:t>di</a:t>
            </a:r>
            <a:endParaRPr sz="1300">
              <a:latin typeface="Corbel"/>
              <a:cs typeface="Corbel"/>
            </a:endParaRPr>
          </a:p>
          <a:p>
            <a:pPr marL="332105">
              <a:lnSpc>
                <a:spcPts val="1440"/>
              </a:lnSpc>
            </a:pPr>
            <a:r>
              <a:rPr sz="1300" b="1" dirty="0">
                <a:latin typeface="Corbel"/>
                <a:cs typeface="Corbel"/>
              </a:rPr>
              <a:t>ricerca</a:t>
            </a:r>
            <a:endParaRPr sz="1300">
              <a:latin typeface="Corbel"/>
              <a:cs typeface="Corbel"/>
            </a:endParaRPr>
          </a:p>
        </p:txBody>
      </p:sp>
      <p:grpSp>
        <p:nvGrpSpPr>
          <p:cNvPr id="8" name="object 4">
            <a:extLst>
              <a:ext uri="{FF2B5EF4-FFF2-40B4-BE49-F238E27FC236}">
                <a16:creationId xmlns:a16="http://schemas.microsoft.com/office/drawing/2014/main" id="{EDC6F660-66FC-EA13-E382-C3F11FAE1E81}"/>
              </a:ext>
            </a:extLst>
          </p:cNvPr>
          <p:cNvGrpSpPr/>
          <p:nvPr/>
        </p:nvGrpSpPr>
        <p:grpSpPr>
          <a:xfrm>
            <a:off x="6081394" y="2533631"/>
            <a:ext cx="635635" cy="1061085"/>
            <a:chOff x="6728459" y="3083052"/>
            <a:chExt cx="635635" cy="1061085"/>
          </a:xfrm>
        </p:grpSpPr>
        <p:sp>
          <p:nvSpPr>
            <p:cNvPr id="12" name="object 5">
              <a:extLst>
                <a:ext uri="{FF2B5EF4-FFF2-40B4-BE49-F238E27FC236}">
                  <a16:creationId xmlns:a16="http://schemas.microsoft.com/office/drawing/2014/main" id="{E4B0162C-FF20-1E8C-5A7D-F4FC4BDE49A1}"/>
                </a:ext>
              </a:extLst>
            </p:cNvPr>
            <p:cNvSpPr/>
            <p:nvPr/>
          </p:nvSpPr>
          <p:spPr>
            <a:xfrm>
              <a:off x="6737603" y="3092196"/>
              <a:ext cx="617220" cy="1042669"/>
            </a:xfrm>
            <a:custGeom>
              <a:avLst/>
              <a:gdLst/>
              <a:ahLst/>
              <a:cxnLst/>
              <a:rect l="l" t="t" r="r" b="b"/>
              <a:pathLst>
                <a:path w="617220" h="1042670">
                  <a:moveTo>
                    <a:pt x="193548" y="0"/>
                  </a:moveTo>
                  <a:lnTo>
                    <a:pt x="0" y="114299"/>
                  </a:lnTo>
                  <a:lnTo>
                    <a:pt x="24537" y="157159"/>
                  </a:lnTo>
                  <a:lnTo>
                    <a:pt x="47851" y="200569"/>
                  </a:lnTo>
                  <a:lnTo>
                    <a:pt x="69932" y="244511"/>
                  </a:lnTo>
                  <a:lnTo>
                    <a:pt x="90773" y="288964"/>
                  </a:lnTo>
                  <a:lnTo>
                    <a:pt x="110363" y="333908"/>
                  </a:lnTo>
                  <a:lnTo>
                    <a:pt x="128694" y="379324"/>
                  </a:lnTo>
                  <a:lnTo>
                    <a:pt x="145757" y="425190"/>
                  </a:lnTo>
                  <a:lnTo>
                    <a:pt x="161544" y="471487"/>
                  </a:lnTo>
                  <a:lnTo>
                    <a:pt x="176044" y="518195"/>
                  </a:lnTo>
                  <a:lnTo>
                    <a:pt x="189249" y="565293"/>
                  </a:lnTo>
                  <a:lnTo>
                    <a:pt x="201151" y="612762"/>
                  </a:lnTo>
                  <a:lnTo>
                    <a:pt x="211740" y="660582"/>
                  </a:lnTo>
                  <a:lnTo>
                    <a:pt x="221008" y="708732"/>
                  </a:lnTo>
                  <a:lnTo>
                    <a:pt x="228945" y="757192"/>
                  </a:lnTo>
                  <a:lnTo>
                    <a:pt x="235542" y="805943"/>
                  </a:lnTo>
                  <a:lnTo>
                    <a:pt x="240792" y="854963"/>
                  </a:lnTo>
                  <a:lnTo>
                    <a:pt x="91439" y="853439"/>
                  </a:lnTo>
                  <a:lnTo>
                    <a:pt x="361187" y="1042415"/>
                  </a:lnTo>
                  <a:lnTo>
                    <a:pt x="617219" y="858011"/>
                  </a:lnTo>
                  <a:lnTo>
                    <a:pt x="467867" y="856487"/>
                  </a:lnTo>
                  <a:lnTo>
                    <a:pt x="462929" y="806284"/>
                  </a:lnTo>
                  <a:lnTo>
                    <a:pt x="456754" y="756271"/>
                  </a:lnTo>
                  <a:lnTo>
                    <a:pt x="449347" y="706472"/>
                  </a:lnTo>
                  <a:lnTo>
                    <a:pt x="440711" y="656908"/>
                  </a:lnTo>
                  <a:lnTo>
                    <a:pt x="430853" y="607601"/>
                  </a:lnTo>
                  <a:lnTo>
                    <a:pt x="419777" y="558574"/>
                  </a:lnTo>
                  <a:lnTo>
                    <a:pt x="407487" y="509847"/>
                  </a:lnTo>
                  <a:lnTo>
                    <a:pt x="393988" y="461443"/>
                  </a:lnTo>
                  <a:lnTo>
                    <a:pt x="379285" y="413384"/>
                  </a:lnTo>
                  <a:lnTo>
                    <a:pt x="363383" y="365693"/>
                  </a:lnTo>
                  <a:lnTo>
                    <a:pt x="346285" y="318390"/>
                  </a:lnTo>
                  <a:lnTo>
                    <a:pt x="327998" y="271497"/>
                  </a:lnTo>
                  <a:lnTo>
                    <a:pt x="308526" y="225038"/>
                  </a:lnTo>
                  <a:lnTo>
                    <a:pt x="287872" y="179033"/>
                  </a:lnTo>
                  <a:lnTo>
                    <a:pt x="266043" y="133505"/>
                  </a:lnTo>
                  <a:lnTo>
                    <a:pt x="243043" y="88475"/>
                  </a:lnTo>
                  <a:lnTo>
                    <a:pt x="218876" y="43966"/>
                  </a:lnTo>
                  <a:lnTo>
                    <a:pt x="193548" y="0"/>
                  </a:lnTo>
                  <a:close/>
                </a:path>
              </a:pathLst>
            </a:custGeom>
            <a:solidFill>
              <a:srgbClr val="FFCA08"/>
            </a:solidFill>
          </p:spPr>
          <p:txBody>
            <a:bodyPr wrap="square" lIns="0" tIns="0" rIns="0" bIns="0" rtlCol="0"/>
            <a:lstStyle/>
            <a:p>
              <a:endParaRPr/>
            </a:p>
          </p:txBody>
        </p:sp>
        <p:sp>
          <p:nvSpPr>
            <p:cNvPr id="13" name="object 6">
              <a:extLst>
                <a:ext uri="{FF2B5EF4-FFF2-40B4-BE49-F238E27FC236}">
                  <a16:creationId xmlns:a16="http://schemas.microsoft.com/office/drawing/2014/main" id="{93C99570-9060-B8D7-F55A-712CDF77F335}"/>
                </a:ext>
              </a:extLst>
            </p:cNvPr>
            <p:cNvSpPr/>
            <p:nvPr/>
          </p:nvSpPr>
          <p:spPr>
            <a:xfrm>
              <a:off x="6728459" y="3083052"/>
              <a:ext cx="635635" cy="1061085"/>
            </a:xfrm>
            <a:custGeom>
              <a:avLst/>
              <a:gdLst/>
              <a:ahLst/>
              <a:cxnLst/>
              <a:rect l="l" t="t" r="r" b="b"/>
              <a:pathLst>
                <a:path w="635634" h="1061085">
                  <a:moveTo>
                    <a:pt x="100583" y="854963"/>
                  </a:moveTo>
                  <a:lnTo>
                    <a:pt x="97536" y="854963"/>
                  </a:lnTo>
                  <a:lnTo>
                    <a:pt x="92964" y="856487"/>
                  </a:lnTo>
                  <a:lnTo>
                    <a:pt x="92964" y="861059"/>
                  </a:lnTo>
                  <a:lnTo>
                    <a:pt x="91440" y="864107"/>
                  </a:lnTo>
                  <a:lnTo>
                    <a:pt x="92964" y="867155"/>
                  </a:lnTo>
                  <a:lnTo>
                    <a:pt x="96012" y="870203"/>
                  </a:lnTo>
                  <a:lnTo>
                    <a:pt x="365760" y="1057655"/>
                  </a:lnTo>
                  <a:lnTo>
                    <a:pt x="368807" y="1060703"/>
                  </a:lnTo>
                  <a:lnTo>
                    <a:pt x="373379" y="1060703"/>
                  </a:lnTo>
                  <a:lnTo>
                    <a:pt x="376427" y="1057655"/>
                  </a:lnTo>
                  <a:lnTo>
                    <a:pt x="395516" y="1043939"/>
                  </a:lnTo>
                  <a:lnTo>
                    <a:pt x="365760" y="1043939"/>
                  </a:lnTo>
                  <a:lnTo>
                    <a:pt x="371005" y="1040193"/>
                  </a:lnTo>
                  <a:lnTo>
                    <a:pt x="127609" y="872003"/>
                  </a:lnTo>
                  <a:lnTo>
                    <a:pt x="100583" y="871727"/>
                  </a:lnTo>
                  <a:lnTo>
                    <a:pt x="105155" y="856487"/>
                  </a:lnTo>
                  <a:lnTo>
                    <a:pt x="241173" y="856487"/>
                  </a:lnTo>
                  <a:lnTo>
                    <a:pt x="100583" y="854963"/>
                  </a:lnTo>
                  <a:close/>
                </a:path>
                <a:path w="635634" h="1061085">
                  <a:moveTo>
                    <a:pt x="371005" y="1040193"/>
                  </a:moveTo>
                  <a:lnTo>
                    <a:pt x="365760" y="1043939"/>
                  </a:lnTo>
                  <a:lnTo>
                    <a:pt x="376427" y="1043939"/>
                  </a:lnTo>
                  <a:lnTo>
                    <a:pt x="371005" y="1040193"/>
                  </a:lnTo>
                  <a:close/>
                </a:path>
                <a:path w="635634" h="1061085">
                  <a:moveTo>
                    <a:pt x="600820" y="876039"/>
                  </a:moveTo>
                  <a:lnTo>
                    <a:pt x="371005" y="1040193"/>
                  </a:lnTo>
                  <a:lnTo>
                    <a:pt x="376427" y="1043939"/>
                  </a:lnTo>
                  <a:lnTo>
                    <a:pt x="395516" y="1043939"/>
                  </a:lnTo>
                  <a:lnTo>
                    <a:pt x="628815" y="876299"/>
                  </a:lnTo>
                  <a:lnTo>
                    <a:pt x="626363" y="876299"/>
                  </a:lnTo>
                  <a:lnTo>
                    <a:pt x="600820" y="876039"/>
                  </a:lnTo>
                  <a:close/>
                </a:path>
                <a:path w="635634" h="1061085">
                  <a:moveTo>
                    <a:pt x="621791" y="861059"/>
                  </a:moveTo>
                  <a:lnTo>
                    <a:pt x="600820" y="876039"/>
                  </a:lnTo>
                  <a:lnTo>
                    <a:pt x="626363" y="876299"/>
                  </a:lnTo>
                  <a:lnTo>
                    <a:pt x="621791" y="861059"/>
                  </a:lnTo>
                  <a:close/>
                </a:path>
                <a:path w="635634" h="1061085">
                  <a:moveTo>
                    <a:pt x="633983" y="861059"/>
                  </a:moveTo>
                  <a:lnTo>
                    <a:pt x="621791" y="861059"/>
                  </a:lnTo>
                  <a:lnTo>
                    <a:pt x="626363" y="876299"/>
                  </a:lnTo>
                  <a:lnTo>
                    <a:pt x="628815" y="876299"/>
                  </a:lnTo>
                  <a:lnTo>
                    <a:pt x="630935" y="874775"/>
                  </a:lnTo>
                  <a:lnTo>
                    <a:pt x="633983" y="871727"/>
                  </a:lnTo>
                  <a:lnTo>
                    <a:pt x="635507" y="868679"/>
                  </a:lnTo>
                  <a:lnTo>
                    <a:pt x="633983" y="865631"/>
                  </a:lnTo>
                  <a:lnTo>
                    <a:pt x="633983" y="861059"/>
                  </a:lnTo>
                  <a:close/>
                </a:path>
                <a:path w="635634" h="1061085">
                  <a:moveTo>
                    <a:pt x="215576" y="13715"/>
                  </a:moveTo>
                  <a:lnTo>
                    <a:pt x="196596" y="13715"/>
                  </a:lnTo>
                  <a:lnTo>
                    <a:pt x="207264" y="16763"/>
                  </a:lnTo>
                  <a:lnTo>
                    <a:pt x="200543" y="20733"/>
                  </a:lnTo>
                  <a:lnTo>
                    <a:pt x="224027" y="62483"/>
                  </a:lnTo>
                  <a:lnTo>
                    <a:pt x="251460" y="112775"/>
                  </a:lnTo>
                  <a:lnTo>
                    <a:pt x="275844" y="163067"/>
                  </a:lnTo>
                  <a:lnTo>
                    <a:pt x="300227" y="214883"/>
                  </a:lnTo>
                  <a:lnTo>
                    <a:pt x="323088" y="266699"/>
                  </a:lnTo>
                  <a:lnTo>
                    <a:pt x="342900" y="318515"/>
                  </a:lnTo>
                  <a:lnTo>
                    <a:pt x="362712" y="371855"/>
                  </a:lnTo>
                  <a:lnTo>
                    <a:pt x="380999" y="425195"/>
                  </a:lnTo>
                  <a:lnTo>
                    <a:pt x="396239" y="478535"/>
                  </a:lnTo>
                  <a:lnTo>
                    <a:pt x="411479" y="533399"/>
                  </a:lnTo>
                  <a:lnTo>
                    <a:pt x="425195" y="588263"/>
                  </a:lnTo>
                  <a:lnTo>
                    <a:pt x="437387" y="643127"/>
                  </a:lnTo>
                  <a:lnTo>
                    <a:pt x="446531" y="697991"/>
                  </a:lnTo>
                  <a:lnTo>
                    <a:pt x="455675" y="754379"/>
                  </a:lnTo>
                  <a:lnTo>
                    <a:pt x="463295" y="810767"/>
                  </a:lnTo>
                  <a:lnTo>
                    <a:pt x="467867" y="867155"/>
                  </a:lnTo>
                  <a:lnTo>
                    <a:pt x="469391" y="871727"/>
                  </a:lnTo>
                  <a:lnTo>
                    <a:pt x="472439" y="874775"/>
                  </a:lnTo>
                  <a:lnTo>
                    <a:pt x="477011" y="874775"/>
                  </a:lnTo>
                  <a:lnTo>
                    <a:pt x="600820" y="876039"/>
                  </a:lnTo>
                  <a:lnTo>
                    <a:pt x="615391" y="865631"/>
                  </a:lnTo>
                  <a:lnTo>
                    <a:pt x="484631" y="865631"/>
                  </a:lnTo>
                  <a:lnTo>
                    <a:pt x="477011" y="858011"/>
                  </a:lnTo>
                  <a:lnTo>
                    <a:pt x="484014" y="858011"/>
                  </a:lnTo>
                  <a:lnTo>
                    <a:pt x="480059" y="809243"/>
                  </a:lnTo>
                  <a:lnTo>
                    <a:pt x="472439" y="751331"/>
                  </a:lnTo>
                  <a:lnTo>
                    <a:pt x="463295" y="694943"/>
                  </a:lnTo>
                  <a:lnTo>
                    <a:pt x="452627" y="640079"/>
                  </a:lnTo>
                  <a:lnTo>
                    <a:pt x="441959" y="583691"/>
                  </a:lnTo>
                  <a:lnTo>
                    <a:pt x="428243" y="528827"/>
                  </a:lnTo>
                  <a:lnTo>
                    <a:pt x="413003" y="473963"/>
                  </a:lnTo>
                  <a:lnTo>
                    <a:pt x="396239" y="419099"/>
                  </a:lnTo>
                  <a:lnTo>
                    <a:pt x="359664" y="312419"/>
                  </a:lnTo>
                  <a:lnTo>
                    <a:pt x="338327" y="259079"/>
                  </a:lnTo>
                  <a:lnTo>
                    <a:pt x="315468" y="207263"/>
                  </a:lnTo>
                  <a:lnTo>
                    <a:pt x="291083" y="155447"/>
                  </a:lnTo>
                  <a:lnTo>
                    <a:pt x="239268" y="54863"/>
                  </a:lnTo>
                  <a:lnTo>
                    <a:pt x="215576" y="13715"/>
                  </a:lnTo>
                  <a:close/>
                </a:path>
                <a:path w="635634" h="1061085">
                  <a:moveTo>
                    <a:pt x="241173" y="856487"/>
                  </a:moveTo>
                  <a:lnTo>
                    <a:pt x="105155" y="856487"/>
                  </a:lnTo>
                  <a:lnTo>
                    <a:pt x="127609" y="872003"/>
                  </a:lnTo>
                  <a:lnTo>
                    <a:pt x="249936" y="873251"/>
                  </a:lnTo>
                  <a:lnTo>
                    <a:pt x="252983" y="873251"/>
                  </a:lnTo>
                  <a:lnTo>
                    <a:pt x="257555" y="868679"/>
                  </a:lnTo>
                  <a:lnTo>
                    <a:pt x="259079" y="865631"/>
                  </a:lnTo>
                  <a:lnTo>
                    <a:pt x="242316" y="865631"/>
                  </a:lnTo>
                  <a:lnTo>
                    <a:pt x="241173" y="856487"/>
                  </a:lnTo>
                  <a:close/>
                </a:path>
                <a:path w="635634" h="1061085">
                  <a:moveTo>
                    <a:pt x="105155" y="856487"/>
                  </a:moveTo>
                  <a:lnTo>
                    <a:pt x="100583" y="871727"/>
                  </a:lnTo>
                  <a:lnTo>
                    <a:pt x="127609" y="872003"/>
                  </a:lnTo>
                  <a:lnTo>
                    <a:pt x="105155" y="856487"/>
                  </a:lnTo>
                  <a:close/>
                </a:path>
                <a:path w="635634" h="1061085">
                  <a:moveTo>
                    <a:pt x="241161" y="856398"/>
                  </a:moveTo>
                  <a:lnTo>
                    <a:pt x="242316" y="865631"/>
                  </a:lnTo>
                  <a:lnTo>
                    <a:pt x="249936" y="856487"/>
                  </a:lnTo>
                  <a:lnTo>
                    <a:pt x="241161" y="856398"/>
                  </a:lnTo>
                  <a:close/>
                </a:path>
                <a:path w="635634" h="1061085">
                  <a:moveTo>
                    <a:pt x="204216" y="0"/>
                  </a:moveTo>
                  <a:lnTo>
                    <a:pt x="201168" y="0"/>
                  </a:lnTo>
                  <a:lnTo>
                    <a:pt x="199644" y="1524"/>
                  </a:lnTo>
                  <a:lnTo>
                    <a:pt x="4572" y="115823"/>
                  </a:lnTo>
                  <a:lnTo>
                    <a:pt x="1524" y="118871"/>
                  </a:lnTo>
                  <a:lnTo>
                    <a:pt x="0" y="123443"/>
                  </a:lnTo>
                  <a:lnTo>
                    <a:pt x="1524" y="128015"/>
                  </a:lnTo>
                  <a:lnTo>
                    <a:pt x="50292" y="213359"/>
                  </a:lnTo>
                  <a:lnTo>
                    <a:pt x="71627" y="257555"/>
                  </a:lnTo>
                  <a:lnTo>
                    <a:pt x="111251" y="345947"/>
                  </a:lnTo>
                  <a:lnTo>
                    <a:pt x="129540" y="391667"/>
                  </a:lnTo>
                  <a:lnTo>
                    <a:pt x="163068" y="483107"/>
                  </a:lnTo>
                  <a:lnTo>
                    <a:pt x="176783" y="530351"/>
                  </a:lnTo>
                  <a:lnTo>
                    <a:pt x="190500" y="576071"/>
                  </a:lnTo>
                  <a:lnTo>
                    <a:pt x="202692" y="623315"/>
                  </a:lnTo>
                  <a:lnTo>
                    <a:pt x="211836" y="672083"/>
                  </a:lnTo>
                  <a:lnTo>
                    <a:pt x="222503" y="719327"/>
                  </a:lnTo>
                  <a:lnTo>
                    <a:pt x="230124" y="768095"/>
                  </a:lnTo>
                  <a:lnTo>
                    <a:pt x="241161" y="856398"/>
                  </a:lnTo>
                  <a:lnTo>
                    <a:pt x="249936" y="856487"/>
                  </a:lnTo>
                  <a:lnTo>
                    <a:pt x="242316" y="865631"/>
                  </a:lnTo>
                  <a:lnTo>
                    <a:pt x="259079" y="865631"/>
                  </a:lnTo>
                  <a:lnTo>
                    <a:pt x="259079" y="864107"/>
                  </a:lnTo>
                  <a:lnTo>
                    <a:pt x="252983" y="813815"/>
                  </a:lnTo>
                  <a:lnTo>
                    <a:pt x="246888" y="765047"/>
                  </a:lnTo>
                  <a:lnTo>
                    <a:pt x="237744" y="716279"/>
                  </a:lnTo>
                  <a:lnTo>
                    <a:pt x="228600" y="669035"/>
                  </a:lnTo>
                  <a:lnTo>
                    <a:pt x="217931" y="620267"/>
                  </a:lnTo>
                  <a:lnTo>
                    <a:pt x="193548" y="525779"/>
                  </a:lnTo>
                  <a:lnTo>
                    <a:pt x="163068" y="431291"/>
                  </a:lnTo>
                  <a:lnTo>
                    <a:pt x="126492" y="339851"/>
                  </a:lnTo>
                  <a:lnTo>
                    <a:pt x="106679" y="294131"/>
                  </a:lnTo>
                  <a:lnTo>
                    <a:pt x="86868" y="249935"/>
                  </a:lnTo>
                  <a:lnTo>
                    <a:pt x="64007" y="205739"/>
                  </a:lnTo>
                  <a:lnTo>
                    <a:pt x="41148" y="163067"/>
                  </a:lnTo>
                  <a:lnTo>
                    <a:pt x="23490" y="131063"/>
                  </a:lnTo>
                  <a:lnTo>
                    <a:pt x="13716" y="131063"/>
                  </a:lnTo>
                  <a:lnTo>
                    <a:pt x="16764" y="118871"/>
                  </a:lnTo>
                  <a:lnTo>
                    <a:pt x="34361" y="118871"/>
                  </a:lnTo>
                  <a:lnTo>
                    <a:pt x="200543" y="20733"/>
                  </a:lnTo>
                  <a:lnTo>
                    <a:pt x="196596" y="13715"/>
                  </a:lnTo>
                  <a:lnTo>
                    <a:pt x="215576" y="13715"/>
                  </a:lnTo>
                  <a:lnTo>
                    <a:pt x="210312" y="4572"/>
                  </a:lnTo>
                  <a:lnTo>
                    <a:pt x="210312" y="3048"/>
                  </a:lnTo>
                  <a:lnTo>
                    <a:pt x="207264" y="1524"/>
                  </a:lnTo>
                  <a:lnTo>
                    <a:pt x="205740" y="1524"/>
                  </a:lnTo>
                  <a:lnTo>
                    <a:pt x="204216" y="0"/>
                  </a:lnTo>
                  <a:close/>
                </a:path>
                <a:path w="635634" h="1061085">
                  <a:moveTo>
                    <a:pt x="477011" y="858011"/>
                  </a:moveTo>
                  <a:lnTo>
                    <a:pt x="484631" y="865631"/>
                  </a:lnTo>
                  <a:lnTo>
                    <a:pt x="484019" y="858083"/>
                  </a:lnTo>
                  <a:lnTo>
                    <a:pt x="477011" y="858011"/>
                  </a:lnTo>
                  <a:close/>
                </a:path>
                <a:path w="635634" h="1061085">
                  <a:moveTo>
                    <a:pt x="484019" y="858083"/>
                  </a:moveTo>
                  <a:lnTo>
                    <a:pt x="484631" y="865631"/>
                  </a:lnTo>
                  <a:lnTo>
                    <a:pt x="615391" y="865631"/>
                  </a:lnTo>
                  <a:lnTo>
                    <a:pt x="621791" y="861059"/>
                  </a:lnTo>
                  <a:lnTo>
                    <a:pt x="633983" y="861059"/>
                  </a:lnTo>
                  <a:lnTo>
                    <a:pt x="630935" y="859535"/>
                  </a:lnTo>
                  <a:lnTo>
                    <a:pt x="626363" y="859535"/>
                  </a:lnTo>
                  <a:lnTo>
                    <a:pt x="484019" y="858083"/>
                  </a:lnTo>
                  <a:close/>
                </a:path>
                <a:path w="635634" h="1061085">
                  <a:moveTo>
                    <a:pt x="484014" y="858011"/>
                  </a:moveTo>
                  <a:lnTo>
                    <a:pt x="477011" y="858011"/>
                  </a:lnTo>
                  <a:lnTo>
                    <a:pt x="484019" y="858083"/>
                  </a:lnTo>
                  <a:close/>
                </a:path>
                <a:path w="635634" h="1061085">
                  <a:moveTo>
                    <a:pt x="16764" y="118871"/>
                  </a:moveTo>
                  <a:lnTo>
                    <a:pt x="13716" y="131063"/>
                  </a:lnTo>
                  <a:lnTo>
                    <a:pt x="21088" y="126710"/>
                  </a:lnTo>
                  <a:lnTo>
                    <a:pt x="16764" y="118871"/>
                  </a:lnTo>
                  <a:close/>
                </a:path>
                <a:path w="635634" h="1061085">
                  <a:moveTo>
                    <a:pt x="21088" y="126710"/>
                  </a:moveTo>
                  <a:lnTo>
                    <a:pt x="13716" y="131063"/>
                  </a:lnTo>
                  <a:lnTo>
                    <a:pt x="23490" y="131063"/>
                  </a:lnTo>
                  <a:lnTo>
                    <a:pt x="21088" y="126710"/>
                  </a:lnTo>
                  <a:close/>
                </a:path>
                <a:path w="635634" h="1061085">
                  <a:moveTo>
                    <a:pt x="34361" y="118871"/>
                  </a:moveTo>
                  <a:lnTo>
                    <a:pt x="16764" y="118871"/>
                  </a:lnTo>
                  <a:lnTo>
                    <a:pt x="21088" y="126710"/>
                  </a:lnTo>
                  <a:lnTo>
                    <a:pt x="34361" y="118871"/>
                  </a:lnTo>
                  <a:close/>
                </a:path>
                <a:path w="635634" h="1061085">
                  <a:moveTo>
                    <a:pt x="196596" y="13715"/>
                  </a:moveTo>
                  <a:lnTo>
                    <a:pt x="200543" y="20733"/>
                  </a:lnTo>
                  <a:lnTo>
                    <a:pt x="207264" y="16763"/>
                  </a:lnTo>
                  <a:lnTo>
                    <a:pt x="196596" y="13715"/>
                  </a:lnTo>
                  <a:close/>
                </a:path>
              </a:pathLst>
            </a:custGeom>
            <a:solidFill>
              <a:srgbClr val="FFFFFF"/>
            </a:solidFill>
          </p:spPr>
          <p:txBody>
            <a:bodyPr wrap="square" lIns="0" tIns="0" rIns="0" bIns="0" rtlCol="0"/>
            <a:lstStyle/>
            <a:p>
              <a:endParaRPr/>
            </a:p>
          </p:txBody>
        </p:sp>
      </p:grpSp>
      <p:sp>
        <p:nvSpPr>
          <p:cNvPr id="16" name="object 7">
            <a:extLst>
              <a:ext uri="{FF2B5EF4-FFF2-40B4-BE49-F238E27FC236}">
                <a16:creationId xmlns:a16="http://schemas.microsoft.com/office/drawing/2014/main" id="{53C1F359-880A-E8D4-2057-53C4B3E55943}"/>
              </a:ext>
            </a:extLst>
          </p:cNvPr>
          <p:cNvSpPr txBox="1"/>
          <p:nvPr/>
        </p:nvSpPr>
        <p:spPr>
          <a:xfrm>
            <a:off x="5875191" y="3937093"/>
            <a:ext cx="1002030" cy="409575"/>
          </a:xfrm>
          <a:prstGeom prst="rect">
            <a:avLst/>
          </a:prstGeom>
        </p:spPr>
        <p:txBody>
          <a:bodyPr vert="horz" wrap="square" lIns="0" tIns="33655" rIns="0" bIns="0" rtlCol="0">
            <a:spAutoFit/>
          </a:bodyPr>
          <a:lstStyle/>
          <a:p>
            <a:pPr marL="222885" marR="5080" indent="-210820">
              <a:lnSpc>
                <a:spcPts val="1440"/>
              </a:lnSpc>
              <a:spcBef>
                <a:spcPts val="265"/>
              </a:spcBef>
            </a:pPr>
            <a:r>
              <a:rPr sz="1300" b="1" spc="5" dirty="0">
                <a:latin typeface="Corbel"/>
                <a:cs typeface="Corbel"/>
              </a:rPr>
              <a:t>2.</a:t>
            </a:r>
            <a:r>
              <a:rPr sz="1300" b="1" spc="-55" dirty="0">
                <a:latin typeface="Corbel"/>
                <a:cs typeface="Corbel"/>
              </a:rPr>
              <a:t> </a:t>
            </a:r>
            <a:r>
              <a:rPr sz="1300" b="1" dirty="0">
                <a:latin typeface="Corbel"/>
                <a:cs typeface="Corbel"/>
              </a:rPr>
              <a:t>Individuare </a:t>
            </a:r>
            <a:r>
              <a:rPr sz="1300" b="1" spc="-254" dirty="0">
                <a:latin typeface="Corbel"/>
                <a:cs typeface="Corbel"/>
              </a:rPr>
              <a:t> </a:t>
            </a:r>
            <a:r>
              <a:rPr sz="1300" b="1" spc="-5" dirty="0">
                <a:latin typeface="Corbel"/>
                <a:cs typeface="Corbel"/>
              </a:rPr>
              <a:t>l’azione</a:t>
            </a:r>
            <a:endParaRPr sz="1300">
              <a:latin typeface="Corbel"/>
              <a:cs typeface="Corbel"/>
            </a:endParaRPr>
          </a:p>
        </p:txBody>
      </p:sp>
      <p:grpSp>
        <p:nvGrpSpPr>
          <p:cNvPr id="17" name="object 8">
            <a:extLst>
              <a:ext uri="{FF2B5EF4-FFF2-40B4-BE49-F238E27FC236}">
                <a16:creationId xmlns:a16="http://schemas.microsoft.com/office/drawing/2014/main" id="{D4036BE1-4FAE-D742-CC6A-4B1AE77FE6BC}"/>
              </a:ext>
            </a:extLst>
          </p:cNvPr>
          <p:cNvGrpSpPr/>
          <p:nvPr/>
        </p:nvGrpSpPr>
        <p:grpSpPr>
          <a:xfrm>
            <a:off x="5136514" y="4651990"/>
            <a:ext cx="1019810" cy="919480"/>
            <a:chOff x="5783579" y="5201411"/>
            <a:chExt cx="1019810" cy="919480"/>
          </a:xfrm>
        </p:grpSpPr>
        <p:sp>
          <p:nvSpPr>
            <p:cNvPr id="18" name="object 9">
              <a:extLst>
                <a:ext uri="{FF2B5EF4-FFF2-40B4-BE49-F238E27FC236}">
                  <a16:creationId xmlns:a16="http://schemas.microsoft.com/office/drawing/2014/main" id="{764F6FB2-60E7-F06F-3F05-0DB0C6D4F846}"/>
                </a:ext>
              </a:extLst>
            </p:cNvPr>
            <p:cNvSpPr/>
            <p:nvPr/>
          </p:nvSpPr>
          <p:spPr>
            <a:xfrm>
              <a:off x="5792723" y="5210555"/>
              <a:ext cx="1001394" cy="901065"/>
            </a:xfrm>
            <a:custGeom>
              <a:avLst/>
              <a:gdLst/>
              <a:ahLst/>
              <a:cxnLst/>
              <a:rect l="l" t="t" r="r" b="b"/>
              <a:pathLst>
                <a:path w="1001395" h="901064">
                  <a:moveTo>
                    <a:pt x="822959" y="0"/>
                  </a:moveTo>
                  <a:lnTo>
                    <a:pt x="792469" y="38675"/>
                  </a:lnTo>
                  <a:lnTo>
                    <a:pt x="760958" y="76457"/>
                  </a:lnTo>
                  <a:lnTo>
                    <a:pt x="728450" y="113326"/>
                  </a:lnTo>
                  <a:lnTo>
                    <a:pt x="694969" y="149264"/>
                  </a:lnTo>
                  <a:lnTo>
                    <a:pt x="660537" y="184251"/>
                  </a:lnTo>
                  <a:lnTo>
                    <a:pt x="625178" y="218270"/>
                  </a:lnTo>
                  <a:lnTo>
                    <a:pt x="588917" y="251301"/>
                  </a:lnTo>
                  <a:lnTo>
                    <a:pt x="551775" y="283326"/>
                  </a:lnTo>
                  <a:lnTo>
                    <a:pt x="513778" y="314324"/>
                  </a:lnTo>
                  <a:lnTo>
                    <a:pt x="474948" y="344279"/>
                  </a:lnTo>
                  <a:lnTo>
                    <a:pt x="435309" y="373171"/>
                  </a:lnTo>
                  <a:lnTo>
                    <a:pt x="394885" y="400981"/>
                  </a:lnTo>
                  <a:lnTo>
                    <a:pt x="353698" y="427690"/>
                  </a:lnTo>
                  <a:lnTo>
                    <a:pt x="311774" y="453280"/>
                  </a:lnTo>
                  <a:lnTo>
                    <a:pt x="269134" y="477731"/>
                  </a:lnTo>
                  <a:lnTo>
                    <a:pt x="225802" y="501025"/>
                  </a:lnTo>
                  <a:lnTo>
                    <a:pt x="181803" y="523144"/>
                  </a:lnTo>
                  <a:lnTo>
                    <a:pt x="137160" y="544067"/>
                  </a:lnTo>
                  <a:lnTo>
                    <a:pt x="89916" y="402335"/>
                  </a:lnTo>
                  <a:lnTo>
                    <a:pt x="0" y="719327"/>
                  </a:lnTo>
                  <a:lnTo>
                    <a:pt x="256031" y="900683"/>
                  </a:lnTo>
                  <a:lnTo>
                    <a:pt x="208787" y="758951"/>
                  </a:lnTo>
                  <a:lnTo>
                    <a:pt x="255350" y="737808"/>
                  </a:lnTo>
                  <a:lnTo>
                    <a:pt x="301299" y="715536"/>
                  </a:lnTo>
                  <a:lnTo>
                    <a:pt x="346614" y="692148"/>
                  </a:lnTo>
                  <a:lnTo>
                    <a:pt x="391277" y="667658"/>
                  </a:lnTo>
                  <a:lnTo>
                    <a:pt x="435268" y="642080"/>
                  </a:lnTo>
                  <a:lnTo>
                    <a:pt x="478567" y="615427"/>
                  </a:lnTo>
                  <a:lnTo>
                    <a:pt x="521156" y="587714"/>
                  </a:lnTo>
                  <a:lnTo>
                    <a:pt x="563014" y="558954"/>
                  </a:lnTo>
                  <a:lnTo>
                    <a:pt x="604122" y="529160"/>
                  </a:lnTo>
                  <a:lnTo>
                    <a:pt x="644461" y="498347"/>
                  </a:lnTo>
                  <a:lnTo>
                    <a:pt x="684011" y="466529"/>
                  </a:lnTo>
                  <a:lnTo>
                    <a:pt x="722753" y="433718"/>
                  </a:lnTo>
                  <a:lnTo>
                    <a:pt x="760668" y="399928"/>
                  </a:lnTo>
                  <a:lnTo>
                    <a:pt x="797736" y="365174"/>
                  </a:lnTo>
                  <a:lnTo>
                    <a:pt x="833937" y="329469"/>
                  </a:lnTo>
                  <a:lnTo>
                    <a:pt x="869252" y="292827"/>
                  </a:lnTo>
                  <a:lnTo>
                    <a:pt x="903663" y="255261"/>
                  </a:lnTo>
                  <a:lnTo>
                    <a:pt x="937148" y="216785"/>
                  </a:lnTo>
                  <a:lnTo>
                    <a:pt x="969690" y="177414"/>
                  </a:lnTo>
                  <a:lnTo>
                    <a:pt x="1001267" y="137160"/>
                  </a:lnTo>
                  <a:lnTo>
                    <a:pt x="822959" y="0"/>
                  </a:lnTo>
                  <a:close/>
                </a:path>
              </a:pathLst>
            </a:custGeom>
            <a:solidFill>
              <a:srgbClr val="FFCA08"/>
            </a:solidFill>
          </p:spPr>
          <p:txBody>
            <a:bodyPr wrap="square" lIns="0" tIns="0" rIns="0" bIns="0" rtlCol="0"/>
            <a:lstStyle/>
            <a:p>
              <a:endParaRPr/>
            </a:p>
          </p:txBody>
        </p:sp>
        <p:sp>
          <p:nvSpPr>
            <p:cNvPr id="19" name="object 10">
              <a:extLst>
                <a:ext uri="{FF2B5EF4-FFF2-40B4-BE49-F238E27FC236}">
                  <a16:creationId xmlns:a16="http://schemas.microsoft.com/office/drawing/2014/main" id="{81593F67-A95C-A462-889E-C1CFF6928C46}"/>
                </a:ext>
              </a:extLst>
            </p:cNvPr>
            <p:cNvSpPr/>
            <p:nvPr/>
          </p:nvSpPr>
          <p:spPr>
            <a:xfrm>
              <a:off x="5783579" y="5201411"/>
              <a:ext cx="1019810" cy="919480"/>
            </a:xfrm>
            <a:custGeom>
              <a:avLst/>
              <a:gdLst/>
              <a:ahLst/>
              <a:cxnLst/>
              <a:rect l="l" t="t" r="r" b="b"/>
              <a:pathLst>
                <a:path w="1019809" h="919479">
                  <a:moveTo>
                    <a:pt x="102108" y="402335"/>
                  </a:moveTo>
                  <a:lnTo>
                    <a:pt x="96012" y="402335"/>
                  </a:lnTo>
                  <a:lnTo>
                    <a:pt x="92963" y="405383"/>
                  </a:lnTo>
                  <a:lnTo>
                    <a:pt x="91439" y="408431"/>
                  </a:lnTo>
                  <a:lnTo>
                    <a:pt x="1524" y="725423"/>
                  </a:lnTo>
                  <a:lnTo>
                    <a:pt x="0" y="728471"/>
                  </a:lnTo>
                  <a:lnTo>
                    <a:pt x="1524" y="733043"/>
                  </a:lnTo>
                  <a:lnTo>
                    <a:pt x="4572" y="734567"/>
                  </a:lnTo>
                  <a:lnTo>
                    <a:pt x="260603" y="917447"/>
                  </a:lnTo>
                  <a:lnTo>
                    <a:pt x="263651" y="918971"/>
                  </a:lnTo>
                  <a:lnTo>
                    <a:pt x="266699" y="918971"/>
                  </a:lnTo>
                  <a:lnTo>
                    <a:pt x="269747" y="917447"/>
                  </a:lnTo>
                  <a:lnTo>
                    <a:pt x="272795" y="914399"/>
                  </a:lnTo>
                  <a:lnTo>
                    <a:pt x="273557" y="912875"/>
                  </a:lnTo>
                  <a:lnTo>
                    <a:pt x="257555" y="912875"/>
                  </a:lnTo>
                  <a:lnTo>
                    <a:pt x="249745" y="889444"/>
                  </a:lnTo>
                  <a:lnTo>
                    <a:pt x="26517" y="729995"/>
                  </a:lnTo>
                  <a:lnTo>
                    <a:pt x="16763" y="729995"/>
                  </a:lnTo>
                  <a:lnTo>
                    <a:pt x="13715" y="720851"/>
                  </a:lnTo>
                  <a:lnTo>
                    <a:pt x="19357" y="720851"/>
                  </a:lnTo>
                  <a:lnTo>
                    <a:pt x="99633" y="437847"/>
                  </a:lnTo>
                  <a:lnTo>
                    <a:pt x="91439" y="413003"/>
                  </a:lnTo>
                  <a:lnTo>
                    <a:pt x="108203" y="413003"/>
                  </a:lnTo>
                  <a:lnTo>
                    <a:pt x="106679" y="408431"/>
                  </a:lnTo>
                  <a:lnTo>
                    <a:pt x="106679" y="405383"/>
                  </a:lnTo>
                  <a:lnTo>
                    <a:pt x="102108" y="402335"/>
                  </a:lnTo>
                  <a:close/>
                </a:path>
                <a:path w="1019809" h="919479">
                  <a:moveTo>
                    <a:pt x="249745" y="889444"/>
                  </a:moveTo>
                  <a:lnTo>
                    <a:pt x="257555" y="912875"/>
                  </a:lnTo>
                  <a:lnTo>
                    <a:pt x="269747" y="903731"/>
                  </a:lnTo>
                  <a:lnTo>
                    <a:pt x="249745" y="889444"/>
                  </a:lnTo>
                  <a:close/>
                </a:path>
                <a:path w="1019809" h="919479">
                  <a:moveTo>
                    <a:pt x="999547" y="147600"/>
                  </a:moveTo>
                  <a:lnTo>
                    <a:pt x="964691" y="190499"/>
                  </a:lnTo>
                  <a:lnTo>
                    <a:pt x="923543" y="239267"/>
                  </a:lnTo>
                  <a:lnTo>
                    <a:pt x="880871" y="286511"/>
                  </a:lnTo>
                  <a:lnTo>
                    <a:pt x="836675" y="332231"/>
                  </a:lnTo>
                  <a:lnTo>
                    <a:pt x="792479" y="376427"/>
                  </a:lnTo>
                  <a:lnTo>
                    <a:pt x="697991" y="461771"/>
                  </a:lnTo>
                  <a:lnTo>
                    <a:pt x="649223" y="501395"/>
                  </a:lnTo>
                  <a:lnTo>
                    <a:pt x="547115" y="576071"/>
                  </a:lnTo>
                  <a:lnTo>
                    <a:pt x="493775" y="611123"/>
                  </a:lnTo>
                  <a:lnTo>
                    <a:pt x="440435" y="644651"/>
                  </a:lnTo>
                  <a:lnTo>
                    <a:pt x="385571" y="676655"/>
                  </a:lnTo>
                  <a:lnTo>
                    <a:pt x="272795" y="734567"/>
                  </a:lnTo>
                  <a:lnTo>
                    <a:pt x="214883" y="760475"/>
                  </a:lnTo>
                  <a:lnTo>
                    <a:pt x="210311" y="761999"/>
                  </a:lnTo>
                  <a:lnTo>
                    <a:pt x="208787" y="766571"/>
                  </a:lnTo>
                  <a:lnTo>
                    <a:pt x="249745" y="889444"/>
                  </a:lnTo>
                  <a:lnTo>
                    <a:pt x="269747" y="903731"/>
                  </a:lnTo>
                  <a:lnTo>
                    <a:pt x="257555" y="912875"/>
                  </a:lnTo>
                  <a:lnTo>
                    <a:pt x="273557" y="912875"/>
                  </a:lnTo>
                  <a:lnTo>
                    <a:pt x="274319" y="911351"/>
                  </a:lnTo>
                  <a:lnTo>
                    <a:pt x="272795" y="908303"/>
                  </a:lnTo>
                  <a:lnTo>
                    <a:pt x="229070" y="775715"/>
                  </a:lnTo>
                  <a:lnTo>
                    <a:pt x="220979" y="775715"/>
                  </a:lnTo>
                  <a:lnTo>
                    <a:pt x="225551" y="765047"/>
                  </a:lnTo>
                  <a:lnTo>
                    <a:pt x="244093" y="765047"/>
                  </a:lnTo>
                  <a:lnTo>
                    <a:pt x="280415" y="748283"/>
                  </a:lnTo>
                  <a:lnTo>
                    <a:pt x="336803" y="720851"/>
                  </a:lnTo>
                  <a:lnTo>
                    <a:pt x="393191" y="690371"/>
                  </a:lnTo>
                  <a:lnTo>
                    <a:pt x="449579" y="658367"/>
                  </a:lnTo>
                  <a:lnTo>
                    <a:pt x="502919" y="624839"/>
                  </a:lnTo>
                  <a:lnTo>
                    <a:pt x="556259" y="589787"/>
                  </a:lnTo>
                  <a:lnTo>
                    <a:pt x="608075" y="553211"/>
                  </a:lnTo>
                  <a:lnTo>
                    <a:pt x="708659" y="473963"/>
                  </a:lnTo>
                  <a:lnTo>
                    <a:pt x="757427" y="432815"/>
                  </a:lnTo>
                  <a:lnTo>
                    <a:pt x="848867" y="344423"/>
                  </a:lnTo>
                  <a:lnTo>
                    <a:pt x="893063" y="298703"/>
                  </a:lnTo>
                  <a:lnTo>
                    <a:pt x="935735" y="249935"/>
                  </a:lnTo>
                  <a:lnTo>
                    <a:pt x="976883" y="201167"/>
                  </a:lnTo>
                  <a:lnTo>
                    <a:pt x="1015307" y="152399"/>
                  </a:lnTo>
                  <a:lnTo>
                    <a:pt x="1005839" y="152399"/>
                  </a:lnTo>
                  <a:lnTo>
                    <a:pt x="999547" y="147600"/>
                  </a:lnTo>
                  <a:close/>
                </a:path>
                <a:path w="1019809" h="919479">
                  <a:moveTo>
                    <a:pt x="225551" y="765047"/>
                  </a:moveTo>
                  <a:lnTo>
                    <a:pt x="220979" y="775715"/>
                  </a:lnTo>
                  <a:lnTo>
                    <a:pt x="228001" y="772475"/>
                  </a:lnTo>
                  <a:lnTo>
                    <a:pt x="225551" y="765047"/>
                  </a:lnTo>
                  <a:close/>
                </a:path>
                <a:path w="1019809" h="919479">
                  <a:moveTo>
                    <a:pt x="228001" y="772475"/>
                  </a:moveTo>
                  <a:lnTo>
                    <a:pt x="220979" y="775715"/>
                  </a:lnTo>
                  <a:lnTo>
                    <a:pt x="229070" y="775715"/>
                  </a:lnTo>
                  <a:lnTo>
                    <a:pt x="228001" y="772475"/>
                  </a:lnTo>
                  <a:close/>
                </a:path>
                <a:path w="1019809" h="919479">
                  <a:moveTo>
                    <a:pt x="244093" y="765047"/>
                  </a:moveTo>
                  <a:lnTo>
                    <a:pt x="225551" y="765047"/>
                  </a:lnTo>
                  <a:lnTo>
                    <a:pt x="228001" y="772475"/>
                  </a:lnTo>
                  <a:lnTo>
                    <a:pt x="244093" y="765047"/>
                  </a:lnTo>
                  <a:close/>
                </a:path>
                <a:path w="1019809" h="919479">
                  <a:moveTo>
                    <a:pt x="13715" y="720851"/>
                  </a:moveTo>
                  <a:lnTo>
                    <a:pt x="16763" y="729995"/>
                  </a:lnTo>
                  <a:lnTo>
                    <a:pt x="18407" y="724202"/>
                  </a:lnTo>
                  <a:lnTo>
                    <a:pt x="13715" y="720851"/>
                  </a:lnTo>
                  <a:close/>
                </a:path>
                <a:path w="1019809" h="919479">
                  <a:moveTo>
                    <a:pt x="18407" y="724202"/>
                  </a:moveTo>
                  <a:lnTo>
                    <a:pt x="16763" y="729995"/>
                  </a:lnTo>
                  <a:lnTo>
                    <a:pt x="26517" y="729995"/>
                  </a:lnTo>
                  <a:lnTo>
                    <a:pt x="18407" y="724202"/>
                  </a:lnTo>
                  <a:close/>
                </a:path>
                <a:path w="1019809" h="919479">
                  <a:moveTo>
                    <a:pt x="19357" y="720851"/>
                  </a:moveTo>
                  <a:lnTo>
                    <a:pt x="13715" y="720851"/>
                  </a:lnTo>
                  <a:lnTo>
                    <a:pt x="18407" y="724202"/>
                  </a:lnTo>
                  <a:lnTo>
                    <a:pt x="19357" y="720851"/>
                  </a:lnTo>
                  <a:close/>
                </a:path>
                <a:path w="1019809" h="919479">
                  <a:moveTo>
                    <a:pt x="108203" y="413003"/>
                  </a:moveTo>
                  <a:lnTo>
                    <a:pt x="106679" y="413003"/>
                  </a:lnTo>
                  <a:lnTo>
                    <a:pt x="99633" y="437847"/>
                  </a:lnTo>
                  <a:lnTo>
                    <a:pt x="138684" y="556259"/>
                  </a:lnTo>
                  <a:lnTo>
                    <a:pt x="138684" y="557783"/>
                  </a:lnTo>
                  <a:lnTo>
                    <a:pt x="141732" y="559307"/>
                  </a:lnTo>
                  <a:lnTo>
                    <a:pt x="144779" y="562355"/>
                  </a:lnTo>
                  <a:lnTo>
                    <a:pt x="147827" y="562355"/>
                  </a:lnTo>
                  <a:lnTo>
                    <a:pt x="172211" y="550163"/>
                  </a:lnTo>
                  <a:lnTo>
                    <a:pt x="153924" y="550163"/>
                  </a:lnTo>
                  <a:lnTo>
                    <a:pt x="143255" y="545591"/>
                  </a:lnTo>
                  <a:lnTo>
                    <a:pt x="151196" y="541982"/>
                  </a:lnTo>
                  <a:lnTo>
                    <a:pt x="108203" y="413003"/>
                  </a:lnTo>
                  <a:close/>
                </a:path>
                <a:path w="1019809" h="919479">
                  <a:moveTo>
                    <a:pt x="151196" y="541982"/>
                  </a:moveTo>
                  <a:lnTo>
                    <a:pt x="143255" y="545591"/>
                  </a:lnTo>
                  <a:lnTo>
                    <a:pt x="153924" y="550163"/>
                  </a:lnTo>
                  <a:lnTo>
                    <a:pt x="151196" y="541982"/>
                  </a:lnTo>
                  <a:close/>
                </a:path>
                <a:path w="1019809" h="919479">
                  <a:moveTo>
                    <a:pt x="833627" y="0"/>
                  </a:moveTo>
                  <a:lnTo>
                    <a:pt x="827531" y="0"/>
                  </a:lnTo>
                  <a:lnTo>
                    <a:pt x="824483" y="4571"/>
                  </a:lnTo>
                  <a:lnTo>
                    <a:pt x="790955" y="47243"/>
                  </a:lnTo>
                  <a:lnTo>
                    <a:pt x="755903" y="89915"/>
                  </a:lnTo>
                  <a:lnTo>
                    <a:pt x="719327" y="131063"/>
                  </a:lnTo>
                  <a:lnTo>
                    <a:pt x="681227" y="170687"/>
                  </a:lnTo>
                  <a:lnTo>
                    <a:pt x="601979" y="246887"/>
                  </a:lnTo>
                  <a:lnTo>
                    <a:pt x="560831" y="281939"/>
                  </a:lnTo>
                  <a:lnTo>
                    <a:pt x="518159" y="316991"/>
                  </a:lnTo>
                  <a:lnTo>
                    <a:pt x="473963" y="350519"/>
                  </a:lnTo>
                  <a:lnTo>
                    <a:pt x="429767" y="382523"/>
                  </a:lnTo>
                  <a:lnTo>
                    <a:pt x="384047" y="413003"/>
                  </a:lnTo>
                  <a:lnTo>
                    <a:pt x="338327" y="441959"/>
                  </a:lnTo>
                  <a:lnTo>
                    <a:pt x="291083" y="470915"/>
                  </a:lnTo>
                  <a:lnTo>
                    <a:pt x="193547" y="522731"/>
                  </a:lnTo>
                  <a:lnTo>
                    <a:pt x="151196" y="541982"/>
                  </a:lnTo>
                  <a:lnTo>
                    <a:pt x="153924" y="550163"/>
                  </a:lnTo>
                  <a:lnTo>
                    <a:pt x="172211" y="550163"/>
                  </a:lnTo>
                  <a:lnTo>
                    <a:pt x="199643" y="536447"/>
                  </a:lnTo>
                  <a:lnTo>
                    <a:pt x="249935" y="512063"/>
                  </a:lnTo>
                  <a:lnTo>
                    <a:pt x="298703" y="484631"/>
                  </a:lnTo>
                  <a:lnTo>
                    <a:pt x="345947" y="457199"/>
                  </a:lnTo>
                  <a:lnTo>
                    <a:pt x="393191" y="426719"/>
                  </a:lnTo>
                  <a:lnTo>
                    <a:pt x="438911" y="396239"/>
                  </a:lnTo>
                  <a:lnTo>
                    <a:pt x="484631" y="364235"/>
                  </a:lnTo>
                  <a:lnTo>
                    <a:pt x="527303" y="330707"/>
                  </a:lnTo>
                  <a:lnTo>
                    <a:pt x="569975" y="295655"/>
                  </a:lnTo>
                  <a:lnTo>
                    <a:pt x="612647" y="259079"/>
                  </a:lnTo>
                  <a:lnTo>
                    <a:pt x="691895" y="182879"/>
                  </a:lnTo>
                  <a:lnTo>
                    <a:pt x="731519" y="141731"/>
                  </a:lnTo>
                  <a:lnTo>
                    <a:pt x="768095" y="100583"/>
                  </a:lnTo>
                  <a:lnTo>
                    <a:pt x="803147" y="57911"/>
                  </a:lnTo>
                  <a:lnTo>
                    <a:pt x="832851" y="20459"/>
                  </a:lnTo>
                  <a:lnTo>
                    <a:pt x="826007" y="15239"/>
                  </a:lnTo>
                  <a:lnTo>
                    <a:pt x="838199" y="13715"/>
                  </a:lnTo>
                  <a:lnTo>
                    <a:pt x="850662" y="13715"/>
                  </a:lnTo>
                  <a:lnTo>
                    <a:pt x="836675" y="3047"/>
                  </a:lnTo>
                  <a:lnTo>
                    <a:pt x="833627" y="0"/>
                  </a:lnTo>
                  <a:close/>
                </a:path>
                <a:path w="1019809" h="919479">
                  <a:moveTo>
                    <a:pt x="106679" y="413003"/>
                  </a:moveTo>
                  <a:lnTo>
                    <a:pt x="91439" y="413003"/>
                  </a:lnTo>
                  <a:lnTo>
                    <a:pt x="99633" y="437847"/>
                  </a:lnTo>
                  <a:lnTo>
                    <a:pt x="106679" y="413003"/>
                  </a:lnTo>
                  <a:close/>
                </a:path>
                <a:path w="1019809" h="919479">
                  <a:moveTo>
                    <a:pt x="1004315" y="141731"/>
                  </a:moveTo>
                  <a:lnTo>
                    <a:pt x="999547" y="147600"/>
                  </a:lnTo>
                  <a:lnTo>
                    <a:pt x="1005839" y="152399"/>
                  </a:lnTo>
                  <a:lnTo>
                    <a:pt x="1004315" y="141731"/>
                  </a:lnTo>
                  <a:close/>
                </a:path>
                <a:path w="1019809" h="919479">
                  <a:moveTo>
                    <a:pt x="1018031" y="141731"/>
                  </a:moveTo>
                  <a:lnTo>
                    <a:pt x="1004315" y="141731"/>
                  </a:lnTo>
                  <a:lnTo>
                    <a:pt x="1005839" y="152399"/>
                  </a:lnTo>
                  <a:lnTo>
                    <a:pt x="1015307" y="152399"/>
                  </a:lnTo>
                  <a:lnTo>
                    <a:pt x="1016507" y="150875"/>
                  </a:lnTo>
                  <a:lnTo>
                    <a:pt x="1019555" y="147827"/>
                  </a:lnTo>
                  <a:lnTo>
                    <a:pt x="1019555" y="144779"/>
                  </a:lnTo>
                  <a:lnTo>
                    <a:pt x="1018031" y="143255"/>
                  </a:lnTo>
                  <a:lnTo>
                    <a:pt x="1018031" y="141731"/>
                  </a:lnTo>
                  <a:close/>
                </a:path>
                <a:path w="1019809" h="919479">
                  <a:moveTo>
                    <a:pt x="850662" y="13715"/>
                  </a:moveTo>
                  <a:lnTo>
                    <a:pt x="838199" y="13715"/>
                  </a:lnTo>
                  <a:lnTo>
                    <a:pt x="832851" y="20459"/>
                  </a:lnTo>
                  <a:lnTo>
                    <a:pt x="999547" y="147600"/>
                  </a:lnTo>
                  <a:lnTo>
                    <a:pt x="1004315" y="141731"/>
                  </a:lnTo>
                  <a:lnTo>
                    <a:pt x="1018031" y="141731"/>
                  </a:lnTo>
                  <a:lnTo>
                    <a:pt x="1016507" y="140207"/>
                  </a:lnTo>
                  <a:lnTo>
                    <a:pt x="850662" y="13715"/>
                  </a:lnTo>
                  <a:close/>
                </a:path>
                <a:path w="1019809" h="919479">
                  <a:moveTo>
                    <a:pt x="838199" y="13715"/>
                  </a:moveTo>
                  <a:lnTo>
                    <a:pt x="826007" y="15239"/>
                  </a:lnTo>
                  <a:lnTo>
                    <a:pt x="832851" y="20459"/>
                  </a:lnTo>
                  <a:lnTo>
                    <a:pt x="838199" y="13715"/>
                  </a:lnTo>
                  <a:close/>
                </a:path>
              </a:pathLst>
            </a:custGeom>
            <a:solidFill>
              <a:srgbClr val="FFFFFF"/>
            </a:solidFill>
          </p:spPr>
          <p:txBody>
            <a:bodyPr wrap="square" lIns="0" tIns="0" rIns="0" bIns="0" rtlCol="0"/>
            <a:lstStyle/>
            <a:p>
              <a:endParaRPr/>
            </a:p>
          </p:txBody>
        </p:sp>
      </p:grpSp>
      <p:grpSp>
        <p:nvGrpSpPr>
          <p:cNvPr id="20" name="object 11">
            <a:extLst>
              <a:ext uri="{FF2B5EF4-FFF2-40B4-BE49-F238E27FC236}">
                <a16:creationId xmlns:a16="http://schemas.microsoft.com/office/drawing/2014/main" id="{60363139-05C8-F1B2-BCE0-65338B28B348}"/>
              </a:ext>
            </a:extLst>
          </p:cNvPr>
          <p:cNvGrpSpPr/>
          <p:nvPr/>
        </p:nvGrpSpPr>
        <p:grpSpPr>
          <a:xfrm>
            <a:off x="2940430" y="4703806"/>
            <a:ext cx="1102360" cy="809625"/>
            <a:chOff x="3587495" y="5253227"/>
            <a:chExt cx="1102360" cy="809625"/>
          </a:xfrm>
        </p:grpSpPr>
        <p:sp>
          <p:nvSpPr>
            <p:cNvPr id="21" name="object 12">
              <a:extLst>
                <a:ext uri="{FF2B5EF4-FFF2-40B4-BE49-F238E27FC236}">
                  <a16:creationId xmlns:a16="http://schemas.microsoft.com/office/drawing/2014/main" id="{35753542-79FF-8F1A-6C9F-719F2FF5D24B}"/>
                </a:ext>
              </a:extLst>
            </p:cNvPr>
            <p:cNvSpPr/>
            <p:nvPr/>
          </p:nvSpPr>
          <p:spPr>
            <a:xfrm>
              <a:off x="3595115" y="5260847"/>
              <a:ext cx="1085215" cy="792480"/>
            </a:xfrm>
            <a:custGeom>
              <a:avLst/>
              <a:gdLst/>
              <a:ahLst/>
              <a:cxnLst/>
              <a:rect l="l" t="t" r="r" b="b"/>
              <a:pathLst>
                <a:path w="1085214" h="792479">
                  <a:moveTo>
                    <a:pt x="419099" y="0"/>
                  </a:moveTo>
                  <a:lnTo>
                    <a:pt x="89915" y="18288"/>
                  </a:lnTo>
                  <a:lnTo>
                    <a:pt x="0" y="320039"/>
                  </a:lnTo>
                  <a:lnTo>
                    <a:pt x="120395" y="228599"/>
                  </a:lnTo>
                  <a:lnTo>
                    <a:pt x="155682" y="266003"/>
                  </a:lnTo>
                  <a:lnTo>
                    <a:pt x="191860" y="302438"/>
                  </a:lnTo>
                  <a:lnTo>
                    <a:pt x="228906" y="337892"/>
                  </a:lnTo>
                  <a:lnTo>
                    <a:pt x="266800" y="372351"/>
                  </a:lnTo>
                  <a:lnTo>
                    <a:pt x="305518" y="405800"/>
                  </a:lnTo>
                  <a:lnTo>
                    <a:pt x="345041" y="438227"/>
                  </a:lnTo>
                  <a:lnTo>
                    <a:pt x="385346" y="469617"/>
                  </a:lnTo>
                  <a:lnTo>
                    <a:pt x="426411" y="499957"/>
                  </a:lnTo>
                  <a:lnTo>
                    <a:pt x="468214" y="529232"/>
                  </a:lnTo>
                  <a:lnTo>
                    <a:pt x="510734" y="557429"/>
                  </a:lnTo>
                  <a:lnTo>
                    <a:pt x="553950" y="584534"/>
                  </a:lnTo>
                  <a:lnTo>
                    <a:pt x="597838" y="610533"/>
                  </a:lnTo>
                  <a:lnTo>
                    <a:pt x="642379" y="635412"/>
                  </a:lnTo>
                  <a:lnTo>
                    <a:pt x="687549" y="659158"/>
                  </a:lnTo>
                  <a:lnTo>
                    <a:pt x="733328" y="681756"/>
                  </a:lnTo>
                  <a:lnTo>
                    <a:pt x="779693" y="703194"/>
                  </a:lnTo>
                  <a:lnTo>
                    <a:pt x="826623" y="723456"/>
                  </a:lnTo>
                  <a:lnTo>
                    <a:pt x="874096" y="742530"/>
                  </a:lnTo>
                  <a:lnTo>
                    <a:pt x="922090" y="760401"/>
                  </a:lnTo>
                  <a:lnTo>
                    <a:pt x="970584" y="777055"/>
                  </a:lnTo>
                  <a:lnTo>
                    <a:pt x="1019555" y="792479"/>
                  </a:lnTo>
                  <a:lnTo>
                    <a:pt x="1085087" y="576071"/>
                  </a:lnTo>
                  <a:lnTo>
                    <a:pt x="1037940" y="561231"/>
                  </a:lnTo>
                  <a:lnTo>
                    <a:pt x="991320" y="545115"/>
                  </a:lnTo>
                  <a:lnTo>
                    <a:pt x="945250" y="527739"/>
                  </a:lnTo>
                  <a:lnTo>
                    <a:pt x="899750" y="509119"/>
                  </a:lnTo>
                  <a:lnTo>
                    <a:pt x="854842" y="489271"/>
                  </a:lnTo>
                  <a:lnTo>
                    <a:pt x="810548" y="468211"/>
                  </a:lnTo>
                  <a:lnTo>
                    <a:pt x="766887" y="445956"/>
                  </a:lnTo>
                  <a:lnTo>
                    <a:pt x="723883" y="422521"/>
                  </a:lnTo>
                  <a:lnTo>
                    <a:pt x="681556" y="397921"/>
                  </a:lnTo>
                  <a:lnTo>
                    <a:pt x="639928" y="372175"/>
                  </a:lnTo>
                  <a:lnTo>
                    <a:pt x="599019" y="345296"/>
                  </a:lnTo>
                  <a:lnTo>
                    <a:pt x="558852" y="317301"/>
                  </a:lnTo>
                  <a:lnTo>
                    <a:pt x="519448" y="288207"/>
                  </a:lnTo>
                  <a:lnTo>
                    <a:pt x="480827" y="258029"/>
                  </a:lnTo>
                  <a:lnTo>
                    <a:pt x="443011" y="226782"/>
                  </a:lnTo>
                  <a:lnTo>
                    <a:pt x="406022" y="194484"/>
                  </a:lnTo>
                  <a:lnTo>
                    <a:pt x="369881" y="161151"/>
                  </a:lnTo>
                  <a:lnTo>
                    <a:pt x="334609" y="126797"/>
                  </a:lnTo>
                  <a:lnTo>
                    <a:pt x="300227" y="91440"/>
                  </a:lnTo>
                  <a:lnTo>
                    <a:pt x="419099" y="0"/>
                  </a:lnTo>
                  <a:close/>
                </a:path>
              </a:pathLst>
            </a:custGeom>
            <a:solidFill>
              <a:srgbClr val="FFCA08"/>
            </a:solidFill>
          </p:spPr>
          <p:txBody>
            <a:bodyPr wrap="square" lIns="0" tIns="0" rIns="0" bIns="0" rtlCol="0"/>
            <a:lstStyle/>
            <a:p>
              <a:endParaRPr/>
            </a:p>
          </p:txBody>
        </p:sp>
        <p:sp>
          <p:nvSpPr>
            <p:cNvPr id="24" name="object 13">
              <a:extLst>
                <a:ext uri="{FF2B5EF4-FFF2-40B4-BE49-F238E27FC236}">
                  <a16:creationId xmlns:a16="http://schemas.microsoft.com/office/drawing/2014/main" id="{C770B7D1-1870-45BA-2F51-1AF44063648B}"/>
                </a:ext>
              </a:extLst>
            </p:cNvPr>
            <p:cNvSpPr/>
            <p:nvPr/>
          </p:nvSpPr>
          <p:spPr>
            <a:xfrm>
              <a:off x="3587495" y="5253227"/>
              <a:ext cx="1102360" cy="809625"/>
            </a:xfrm>
            <a:custGeom>
              <a:avLst/>
              <a:gdLst/>
              <a:ahLst/>
              <a:cxnLst/>
              <a:rect l="l" t="t" r="r" b="b"/>
              <a:pathLst>
                <a:path w="1102360" h="809625">
                  <a:moveTo>
                    <a:pt x="144435" y="242315"/>
                  </a:moveTo>
                  <a:lnTo>
                    <a:pt x="121919" y="242315"/>
                  </a:lnTo>
                  <a:lnTo>
                    <a:pt x="132587" y="243839"/>
                  </a:lnTo>
                  <a:lnTo>
                    <a:pt x="127182" y="247928"/>
                  </a:lnTo>
                  <a:lnTo>
                    <a:pt x="167639" y="291083"/>
                  </a:lnTo>
                  <a:lnTo>
                    <a:pt x="216407" y="338327"/>
                  </a:lnTo>
                  <a:lnTo>
                    <a:pt x="266699" y="384047"/>
                  </a:lnTo>
                  <a:lnTo>
                    <a:pt x="316991" y="428243"/>
                  </a:lnTo>
                  <a:lnTo>
                    <a:pt x="370331" y="470915"/>
                  </a:lnTo>
                  <a:lnTo>
                    <a:pt x="423671" y="510539"/>
                  </a:lnTo>
                  <a:lnTo>
                    <a:pt x="478535" y="548639"/>
                  </a:lnTo>
                  <a:lnTo>
                    <a:pt x="534923" y="585215"/>
                  </a:lnTo>
                  <a:lnTo>
                    <a:pt x="592835" y="620267"/>
                  </a:lnTo>
                  <a:lnTo>
                    <a:pt x="652271" y="653795"/>
                  </a:lnTo>
                  <a:lnTo>
                    <a:pt x="711707" y="684275"/>
                  </a:lnTo>
                  <a:lnTo>
                    <a:pt x="772667" y="713231"/>
                  </a:lnTo>
                  <a:lnTo>
                    <a:pt x="833627" y="739139"/>
                  </a:lnTo>
                  <a:lnTo>
                    <a:pt x="897635" y="765047"/>
                  </a:lnTo>
                  <a:lnTo>
                    <a:pt x="960119" y="787907"/>
                  </a:lnTo>
                  <a:lnTo>
                    <a:pt x="1025651" y="807719"/>
                  </a:lnTo>
                  <a:lnTo>
                    <a:pt x="1027175" y="809243"/>
                  </a:lnTo>
                  <a:lnTo>
                    <a:pt x="1028699" y="807719"/>
                  </a:lnTo>
                  <a:lnTo>
                    <a:pt x="1031747" y="807719"/>
                  </a:lnTo>
                  <a:lnTo>
                    <a:pt x="1034795" y="804671"/>
                  </a:lnTo>
                  <a:lnTo>
                    <a:pt x="1034795" y="801623"/>
                  </a:lnTo>
                  <a:lnTo>
                    <a:pt x="1036190" y="797051"/>
                  </a:lnTo>
                  <a:lnTo>
                    <a:pt x="1019555" y="797051"/>
                  </a:lnTo>
                  <a:lnTo>
                    <a:pt x="1021806" y="789673"/>
                  </a:lnTo>
                  <a:lnTo>
                    <a:pt x="966215" y="771143"/>
                  </a:lnTo>
                  <a:lnTo>
                    <a:pt x="902207" y="748283"/>
                  </a:lnTo>
                  <a:lnTo>
                    <a:pt x="839723" y="723899"/>
                  </a:lnTo>
                  <a:lnTo>
                    <a:pt x="778763" y="697991"/>
                  </a:lnTo>
                  <a:lnTo>
                    <a:pt x="719327" y="669035"/>
                  </a:lnTo>
                  <a:lnTo>
                    <a:pt x="659891" y="638555"/>
                  </a:lnTo>
                  <a:lnTo>
                    <a:pt x="600455" y="606551"/>
                  </a:lnTo>
                  <a:lnTo>
                    <a:pt x="544067" y="571499"/>
                  </a:lnTo>
                  <a:lnTo>
                    <a:pt x="487679" y="534923"/>
                  </a:lnTo>
                  <a:lnTo>
                    <a:pt x="432815" y="496823"/>
                  </a:lnTo>
                  <a:lnTo>
                    <a:pt x="379475" y="457199"/>
                  </a:lnTo>
                  <a:lnTo>
                    <a:pt x="327659" y="416051"/>
                  </a:lnTo>
                  <a:lnTo>
                    <a:pt x="277367" y="371855"/>
                  </a:lnTo>
                  <a:lnTo>
                    <a:pt x="227075" y="326135"/>
                  </a:lnTo>
                  <a:lnTo>
                    <a:pt x="179831" y="278891"/>
                  </a:lnTo>
                  <a:lnTo>
                    <a:pt x="144435" y="242315"/>
                  </a:lnTo>
                  <a:close/>
                </a:path>
                <a:path w="1102360" h="809625">
                  <a:moveTo>
                    <a:pt x="1021806" y="789673"/>
                  </a:moveTo>
                  <a:lnTo>
                    <a:pt x="1019555" y="797051"/>
                  </a:lnTo>
                  <a:lnTo>
                    <a:pt x="1030223" y="792479"/>
                  </a:lnTo>
                  <a:lnTo>
                    <a:pt x="1021806" y="789673"/>
                  </a:lnTo>
                  <a:close/>
                </a:path>
                <a:path w="1102360" h="809625">
                  <a:moveTo>
                    <a:pt x="1082911" y="589305"/>
                  </a:moveTo>
                  <a:lnTo>
                    <a:pt x="1021806" y="789673"/>
                  </a:lnTo>
                  <a:lnTo>
                    <a:pt x="1030223" y="792479"/>
                  </a:lnTo>
                  <a:lnTo>
                    <a:pt x="1019555" y="797051"/>
                  </a:lnTo>
                  <a:lnTo>
                    <a:pt x="1036190" y="797051"/>
                  </a:lnTo>
                  <a:lnTo>
                    <a:pt x="1098933" y="591311"/>
                  </a:lnTo>
                  <a:lnTo>
                    <a:pt x="1089659" y="591311"/>
                  </a:lnTo>
                  <a:lnTo>
                    <a:pt x="1082911" y="589305"/>
                  </a:lnTo>
                  <a:close/>
                </a:path>
                <a:path w="1102360" h="809625">
                  <a:moveTo>
                    <a:pt x="1085087" y="582167"/>
                  </a:moveTo>
                  <a:lnTo>
                    <a:pt x="1082911" y="589305"/>
                  </a:lnTo>
                  <a:lnTo>
                    <a:pt x="1089659" y="591311"/>
                  </a:lnTo>
                  <a:lnTo>
                    <a:pt x="1085087" y="582167"/>
                  </a:lnTo>
                  <a:close/>
                </a:path>
                <a:path w="1102360" h="809625">
                  <a:moveTo>
                    <a:pt x="1101851" y="582167"/>
                  </a:moveTo>
                  <a:lnTo>
                    <a:pt x="1085087" y="582167"/>
                  </a:lnTo>
                  <a:lnTo>
                    <a:pt x="1089659" y="591311"/>
                  </a:lnTo>
                  <a:lnTo>
                    <a:pt x="1098933" y="591311"/>
                  </a:lnTo>
                  <a:lnTo>
                    <a:pt x="1100327" y="586739"/>
                  </a:lnTo>
                  <a:lnTo>
                    <a:pt x="1101851" y="582167"/>
                  </a:lnTo>
                  <a:close/>
                </a:path>
                <a:path w="1102360" h="809625">
                  <a:moveTo>
                    <a:pt x="432815" y="1524"/>
                  </a:moveTo>
                  <a:lnTo>
                    <a:pt x="420623" y="1524"/>
                  </a:lnTo>
                  <a:lnTo>
                    <a:pt x="426719" y="16764"/>
                  </a:lnTo>
                  <a:lnTo>
                    <a:pt x="398975" y="18176"/>
                  </a:lnTo>
                  <a:lnTo>
                    <a:pt x="301751" y="92964"/>
                  </a:lnTo>
                  <a:lnTo>
                    <a:pt x="298703" y="96012"/>
                  </a:lnTo>
                  <a:lnTo>
                    <a:pt x="298703" y="100584"/>
                  </a:lnTo>
                  <a:lnTo>
                    <a:pt x="384047" y="187451"/>
                  </a:lnTo>
                  <a:lnTo>
                    <a:pt x="428243" y="227075"/>
                  </a:lnTo>
                  <a:lnTo>
                    <a:pt x="472439" y="265175"/>
                  </a:lnTo>
                  <a:lnTo>
                    <a:pt x="566927" y="335279"/>
                  </a:lnTo>
                  <a:lnTo>
                    <a:pt x="614171" y="368807"/>
                  </a:lnTo>
                  <a:lnTo>
                    <a:pt x="662939" y="399287"/>
                  </a:lnTo>
                  <a:lnTo>
                    <a:pt x="713231" y="429767"/>
                  </a:lnTo>
                  <a:lnTo>
                    <a:pt x="765047" y="458723"/>
                  </a:lnTo>
                  <a:lnTo>
                    <a:pt x="816863" y="484631"/>
                  </a:lnTo>
                  <a:lnTo>
                    <a:pt x="923543" y="533399"/>
                  </a:lnTo>
                  <a:lnTo>
                    <a:pt x="978407" y="554735"/>
                  </a:lnTo>
                  <a:lnTo>
                    <a:pt x="1033271" y="574547"/>
                  </a:lnTo>
                  <a:lnTo>
                    <a:pt x="1082911" y="589305"/>
                  </a:lnTo>
                  <a:lnTo>
                    <a:pt x="1085087" y="582167"/>
                  </a:lnTo>
                  <a:lnTo>
                    <a:pt x="1101851" y="582167"/>
                  </a:lnTo>
                  <a:lnTo>
                    <a:pt x="1098803" y="577595"/>
                  </a:lnTo>
                  <a:lnTo>
                    <a:pt x="1095755" y="576071"/>
                  </a:lnTo>
                  <a:lnTo>
                    <a:pt x="984503" y="539495"/>
                  </a:lnTo>
                  <a:lnTo>
                    <a:pt x="931163" y="518159"/>
                  </a:lnTo>
                  <a:lnTo>
                    <a:pt x="877823" y="495299"/>
                  </a:lnTo>
                  <a:lnTo>
                    <a:pt x="824483" y="469391"/>
                  </a:lnTo>
                  <a:lnTo>
                    <a:pt x="772667" y="443483"/>
                  </a:lnTo>
                  <a:lnTo>
                    <a:pt x="722375" y="416051"/>
                  </a:lnTo>
                  <a:lnTo>
                    <a:pt x="672083" y="385571"/>
                  </a:lnTo>
                  <a:lnTo>
                    <a:pt x="623315" y="355091"/>
                  </a:lnTo>
                  <a:lnTo>
                    <a:pt x="528827" y="288035"/>
                  </a:lnTo>
                  <a:lnTo>
                    <a:pt x="484631" y="251459"/>
                  </a:lnTo>
                  <a:lnTo>
                    <a:pt x="438911" y="214883"/>
                  </a:lnTo>
                  <a:lnTo>
                    <a:pt x="353567" y="135636"/>
                  </a:lnTo>
                  <a:lnTo>
                    <a:pt x="325265" y="105156"/>
                  </a:lnTo>
                  <a:lnTo>
                    <a:pt x="312419" y="105156"/>
                  </a:lnTo>
                  <a:lnTo>
                    <a:pt x="313943" y="92964"/>
                  </a:lnTo>
                  <a:lnTo>
                    <a:pt x="328538" y="92964"/>
                  </a:lnTo>
                  <a:lnTo>
                    <a:pt x="431291" y="15240"/>
                  </a:lnTo>
                  <a:lnTo>
                    <a:pt x="434339" y="12192"/>
                  </a:lnTo>
                  <a:lnTo>
                    <a:pt x="435863" y="9144"/>
                  </a:lnTo>
                  <a:lnTo>
                    <a:pt x="434339" y="4572"/>
                  </a:lnTo>
                  <a:lnTo>
                    <a:pt x="432815" y="1524"/>
                  </a:lnTo>
                  <a:close/>
                </a:path>
                <a:path w="1102360" h="809625">
                  <a:moveTo>
                    <a:pt x="429767" y="0"/>
                  </a:moveTo>
                  <a:lnTo>
                    <a:pt x="425195" y="0"/>
                  </a:lnTo>
                  <a:lnTo>
                    <a:pt x="96012" y="18288"/>
                  </a:lnTo>
                  <a:lnTo>
                    <a:pt x="92964" y="18288"/>
                  </a:lnTo>
                  <a:lnTo>
                    <a:pt x="89916" y="19812"/>
                  </a:lnTo>
                  <a:lnTo>
                    <a:pt x="88392" y="22860"/>
                  </a:lnTo>
                  <a:lnTo>
                    <a:pt x="0" y="326135"/>
                  </a:lnTo>
                  <a:lnTo>
                    <a:pt x="0" y="332231"/>
                  </a:lnTo>
                  <a:lnTo>
                    <a:pt x="3048" y="335279"/>
                  </a:lnTo>
                  <a:lnTo>
                    <a:pt x="6096" y="336803"/>
                  </a:lnTo>
                  <a:lnTo>
                    <a:pt x="10668" y="336803"/>
                  </a:lnTo>
                  <a:lnTo>
                    <a:pt x="13716" y="333755"/>
                  </a:lnTo>
                  <a:lnTo>
                    <a:pt x="17745" y="330707"/>
                  </a:lnTo>
                  <a:lnTo>
                    <a:pt x="16764" y="330707"/>
                  </a:lnTo>
                  <a:lnTo>
                    <a:pt x="3048" y="321563"/>
                  </a:lnTo>
                  <a:lnTo>
                    <a:pt x="24211" y="305284"/>
                  </a:lnTo>
                  <a:lnTo>
                    <a:pt x="103816" y="33528"/>
                  </a:lnTo>
                  <a:lnTo>
                    <a:pt x="97536" y="33528"/>
                  </a:lnTo>
                  <a:lnTo>
                    <a:pt x="105156" y="28956"/>
                  </a:lnTo>
                  <a:lnTo>
                    <a:pt x="187313" y="28956"/>
                  </a:lnTo>
                  <a:lnTo>
                    <a:pt x="398975" y="18176"/>
                  </a:lnTo>
                  <a:lnTo>
                    <a:pt x="420623" y="1524"/>
                  </a:lnTo>
                  <a:lnTo>
                    <a:pt x="432815" y="1524"/>
                  </a:lnTo>
                  <a:lnTo>
                    <a:pt x="429767" y="0"/>
                  </a:lnTo>
                  <a:close/>
                </a:path>
                <a:path w="1102360" h="809625">
                  <a:moveTo>
                    <a:pt x="24211" y="305284"/>
                  </a:moveTo>
                  <a:lnTo>
                    <a:pt x="3048" y="321563"/>
                  </a:lnTo>
                  <a:lnTo>
                    <a:pt x="16764" y="330707"/>
                  </a:lnTo>
                  <a:lnTo>
                    <a:pt x="24211" y="305284"/>
                  </a:lnTo>
                  <a:close/>
                </a:path>
                <a:path w="1102360" h="809625">
                  <a:moveTo>
                    <a:pt x="124967" y="227075"/>
                  </a:moveTo>
                  <a:lnTo>
                    <a:pt x="121919" y="230123"/>
                  </a:lnTo>
                  <a:lnTo>
                    <a:pt x="24211" y="305284"/>
                  </a:lnTo>
                  <a:lnTo>
                    <a:pt x="16764" y="330707"/>
                  </a:lnTo>
                  <a:lnTo>
                    <a:pt x="17745" y="330707"/>
                  </a:lnTo>
                  <a:lnTo>
                    <a:pt x="127182" y="247928"/>
                  </a:lnTo>
                  <a:lnTo>
                    <a:pt x="121919" y="242315"/>
                  </a:lnTo>
                  <a:lnTo>
                    <a:pt x="144435" y="242315"/>
                  </a:lnTo>
                  <a:lnTo>
                    <a:pt x="134111" y="231647"/>
                  </a:lnTo>
                  <a:lnTo>
                    <a:pt x="131063" y="228599"/>
                  </a:lnTo>
                  <a:lnTo>
                    <a:pt x="124967" y="227075"/>
                  </a:lnTo>
                  <a:close/>
                </a:path>
                <a:path w="1102360" h="809625">
                  <a:moveTo>
                    <a:pt x="121919" y="242315"/>
                  </a:moveTo>
                  <a:lnTo>
                    <a:pt x="127182" y="247928"/>
                  </a:lnTo>
                  <a:lnTo>
                    <a:pt x="132587" y="243839"/>
                  </a:lnTo>
                  <a:lnTo>
                    <a:pt x="121919" y="242315"/>
                  </a:lnTo>
                  <a:close/>
                </a:path>
                <a:path w="1102360" h="809625">
                  <a:moveTo>
                    <a:pt x="313943" y="92964"/>
                  </a:moveTo>
                  <a:lnTo>
                    <a:pt x="312419" y="105156"/>
                  </a:lnTo>
                  <a:lnTo>
                    <a:pt x="319965" y="99448"/>
                  </a:lnTo>
                  <a:lnTo>
                    <a:pt x="313943" y="92964"/>
                  </a:lnTo>
                  <a:close/>
                </a:path>
                <a:path w="1102360" h="809625">
                  <a:moveTo>
                    <a:pt x="319965" y="99448"/>
                  </a:moveTo>
                  <a:lnTo>
                    <a:pt x="312419" y="105156"/>
                  </a:lnTo>
                  <a:lnTo>
                    <a:pt x="325265" y="105156"/>
                  </a:lnTo>
                  <a:lnTo>
                    <a:pt x="319965" y="99448"/>
                  </a:lnTo>
                  <a:close/>
                </a:path>
                <a:path w="1102360" h="809625">
                  <a:moveTo>
                    <a:pt x="328538" y="92964"/>
                  </a:moveTo>
                  <a:lnTo>
                    <a:pt x="313943" y="92964"/>
                  </a:lnTo>
                  <a:lnTo>
                    <a:pt x="319965" y="99448"/>
                  </a:lnTo>
                  <a:lnTo>
                    <a:pt x="328538" y="92964"/>
                  </a:lnTo>
                  <a:close/>
                </a:path>
                <a:path w="1102360" h="809625">
                  <a:moveTo>
                    <a:pt x="105156" y="28956"/>
                  </a:moveTo>
                  <a:lnTo>
                    <a:pt x="97536" y="33528"/>
                  </a:lnTo>
                  <a:lnTo>
                    <a:pt x="103911" y="33203"/>
                  </a:lnTo>
                  <a:lnTo>
                    <a:pt x="105156" y="28956"/>
                  </a:lnTo>
                  <a:close/>
                </a:path>
                <a:path w="1102360" h="809625">
                  <a:moveTo>
                    <a:pt x="103911" y="33203"/>
                  </a:moveTo>
                  <a:lnTo>
                    <a:pt x="97536" y="33528"/>
                  </a:lnTo>
                  <a:lnTo>
                    <a:pt x="103816" y="33528"/>
                  </a:lnTo>
                  <a:lnTo>
                    <a:pt x="103911" y="33203"/>
                  </a:lnTo>
                  <a:close/>
                </a:path>
                <a:path w="1102360" h="809625">
                  <a:moveTo>
                    <a:pt x="187313" y="28956"/>
                  </a:moveTo>
                  <a:lnTo>
                    <a:pt x="105156" y="28956"/>
                  </a:lnTo>
                  <a:lnTo>
                    <a:pt x="103911" y="33203"/>
                  </a:lnTo>
                  <a:lnTo>
                    <a:pt x="187313" y="28956"/>
                  </a:lnTo>
                  <a:close/>
                </a:path>
                <a:path w="1102360" h="809625">
                  <a:moveTo>
                    <a:pt x="420623" y="1524"/>
                  </a:moveTo>
                  <a:lnTo>
                    <a:pt x="398975" y="18176"/>
                  </a:lnTo>
                  <a:lnTo>
                    <a:pt x="426719" y="16764"/>
                  </a:lnTo>
                  <a:lnTo>
                    <a:pt x="420623" y="1524"/>
                  </a:lnTo>
                  <a:close/>
                </a:path>
              </a:pathLst>
            </a:custGeom>
            <a:solidFill>
              <a:srgbClr val="FFFFFF"/>
            </a:solidFill>
          </p:spPr>
          <p:txBody>
            <a:bodyPr wrap="square" lIns="0" tIns="0" rIns="0" bIns="0" rtlCol="0"/>
            <a:lstStyle/>
            <a:p>
              <a:endParaRPr/>
            </a:p>
          </p:txBody>
        </p:sp>
        <p:sp>
          <p:nvSpPr>
            <p:cNvPr id="25" name="object 14">
              <a:extLst>
                <a:ext uri="{FF2B5EF4-FFF2-40B4-BE49-F238E27FC236}">
                  <a16:creationId xmlns:a16="http://schemas.microsoft.com/office/drawing/2014/main" id="{36F48946-F8C2-7263-0F55-5080AA85A7B8}"/>
                </a:ext>
              </a:extLst>
            </p:cNvPr>
            <p:cNvSpPr/>
            <p:nvPr/>
          </p:nvSpPr>
          <p:spPr>
            <a:xfrm>
              <a:off x="3831335" y="5358383"/>
              <a:ext cx="378460" cy="128270"/>
            </a:xfrm>
            <a:custGeom>
              <a:avLst/>
              <a:gdLst/>
              <a:ahLst/>
              <a:cxnLst/>
              <a:rect l="l" t="t" r="r" b="b"/>
              <a:pathLst>
                <a:path w="378460" h="128270">
                  <a:moveTo>
                    <a:pt x="323468" y="64007"/>
                  </a:moveTo>
                  <a:lnTo>
                    <a:pt x="260603" y="100583"/>
                  </a:lnTo>
                  <a:lnTo>
                    <a:pt x="254507" y="105155"/>
                  </a:lnTo>
                  <a:lnTo>
                    <a:pt x="251459" y="112775"/>
                  </a:lnTo>
                  <a:lnTo>
                    <a:pt x="256031" y="120395"/>
                  </a:lnTo>
                  <a:lnTo>
                    <a:pt x="259079" y="126491"/>
                  </a:lnTo>
                  <a:lnTo>
                    <a:pt x="268223" y="128015"/>
                  </a:lnTo>
                  <a:lnTo>
                    <a:pt x="274319" y="124967"/>
                  </a:lnTo>
                  <a:lnTo>
                    <a:pt x="354634" y="77723"/>
                  </a:lnTo>
                  <a:lnTo>
                    <a:pt x="350519" y="77723"/>
                  </a:lnTo>
                  <a:lnTo>
                    <a:pt x="350519" y="76199"/>
                  </a:lnTo>
                  <a:lnTo>
                    <a:pt x="344423" y="76199"/>
                  </a:lnTo>
                  <a:lnTo>
                    <a:pt x="323468" y="64007"/>
                  </a:lnTo>
                  <a:close/>
                </a:path>
                <a:path w="378460" h="128270">
                  <a:moveTo>
                    <a:pt x="299894" y="50291"/>
                  </a:moveTo>
                  <a:lnTo>
                    <a:pt x="0" y="50291"/>
                  </a:lnTo>
                  <a:lnTo>
                    <a:pt x="0" y="77723"/>
                  </a:lnTo>
                  <a:lnTo>
                    <a:pt x="299894" y="77723"/>
                  </a:lnTo>
                  <a:lnTo>
                    <a:pt x="323468" y="64007"/>
                  </a:lnTo>
                  <a:lnTo>
                    <a:pt x="299894" y="50291"/>
                  </a:lnTo>
                  <a:close/>
                </a:path>
                <a:path w="378460" h="128270">
                  <a:moveTo>
                    <a:pt x="354634" y="50291"/>
                  </a:moveTo>
                  <a:lnTo>
                    <a:pt x="350519" y="50291"/>
                  </a:lnTo>
                  <a:lnTo>
                    <a:pt x="350519" y="77723"/>
                  </a:lnTo>
                  <a:lnTo>
                    <a:pt x="354634" y="77723"/>
                  </a:lnTo>
                  <a:lnTo>
                    <a:pt x="377951" y="64007"/>
                  </a:lnTo>
                  <a:lnTo>
                    <a:pt x="354634" y="50291"/>
                  </a:lnTo>
                  <a:close/>
                </a:path>
                <a:path w="378460" h="128270">
                  <a:moveTo>
                    <a:pt x="344423" y="51815"/>
                  </a:moveTo>
                  <a:lnTo>
                    <a:pt x="323468" y="64007"/>
                  </a:lnTo>
                  <a:lnTo>
                    <a:pt x="344423" y="76199"/>
                  </a:lnTo>
                  <a:lnTo>
                    <a:pt x="344423" y="51815"/>
                  </a:lnTo>
                  <a:close/>
                </a:path>
                <a:path w="378460" h="128270">
                  <a:moveTo>
                    <a:pt x="350519" y="51815"/>
                  </a:moveTo>
                  <a:lnTo>
                    <a:pt x="344423" y="51815"/>
                  </a:lnTo>
                  <a:lnTo>
                    <a:pt x="344423" y="76199"/>
                  </a:lnTo>
                  <a:lnTo>
                    <a:pt x="350519" y="76199"/>
                  </a:lnTo>
                  <a:lnTo>
                    <a:pt x="350519" y="51815"/>
                  </a:lnTo>
                  <a:close/>
                </a:path>
                <a:path w="378460" h="128270">
                  <a:moveTo>
                    <a:pt x="268223" y="0"/>
                  </a:moveTo>
                  <a:lnTo>
                    <a:pt x="259079" y="1524"/>
                  </a:lnTo>
                  <a:lnTo>
                    <a:pt x="256031" y="7620"/>
                  </a:lnTo>
                  <a:lnTo>
                    <a:pt x="251459" y="15240"/>
                  </a:lnTo>
                  <a:lnTo>
                    <a:pt x="254507" y="22860"/>
                  </a:lnTo>
                  <a:lnTo>
                    <a:pt x="260603" y="27432"/>
                  </a:lnTo>
                  <a:lnTo>
                    <a:pt x="323468" y="64007"/>
                  </a:lnTo>
                  <a:lnTo>
                    <a:pt x="344423" y="51815"/>
                  </a:lnTo>
                  <a:lnTo>
                    <a:pt x="350519" y="51815"/>
                  </a:lnTo>
                  <a:lnTo>
                    <a:pt x="350519" y="50291"/>
                  </a:lnTo>
                  <a:lnTo>
                    <a:pt x="354634" y="50291"/>
                  </a:lnTo>
                  <a:lnTo>
                    <a:pt x="274319" y="3048"/>
                  </a:lnTo>
                  <a:lnTo>
                    <a:pt x="268223" y="0"/>
                  </a:lnTo>
                  <a:close/>
                </a:path>
              </a:pathLst>
            </a:custGeom>
            <a:solidFill>
              <a:srgbClr val="FFCA08"/>
            </a:solidFill>
          </p:spPr>
          <p:txBody>
            <a:bodyPr wrap="square" lIns="0" tIns="0" rIns="0" bIns="0" rtlCol="0"/>
            <a:lstStyle/>
            <a:p>
              <a:endParaRPr/>
            </a:p>
          </p:txBody>
        </p:sp>
      </p:grpSp>
      <p:sp>
        <p:nvSpPr>
          <p:cNvPr id="26" name="object 15">
            <a:extLst>
              <a:ext uri="{FF2B5EF4-FFF2-40B4-BE49-F238E27FC236}">
                <a16:creationId xmlns:a16="http://schemas.microsoft.com/office/drawing/2014/main" id="{B390A8B5-E651-5B67-25E3-AD241890B68A}"/>
              </a:ext>
            </a:extLst>
          </p:cNvPr>
          <p:cNvSpPr txBox="1"/>
          <p:nvPr/>
        </p:nvSpPr>
        <p:spPr>
          <a:xfrm>
            <a:off x="2313924" y="3937093"/>
            <a:ext cx="807085" cy="409575"/>
          </a:xfrm>
          <a:prstGeom prst="rect">
            <a:avLst/>
          </a:prstGeom>
        </p:spPr>
        <p:txBody>
          <a:bodyPr vert="horz" wrap="square" lIns="0" tIns="33655" rIns="0" bIns="0" rtlCol="0">
            <a:spAutoFit/>
          </a:bodyPr>
          <a:lstStyle/>
          <a:p>
            <a:pPr marL="125095" marR="5080" indent="-113030">
              <a:lnSpc>
                <a:spcPts val="1440"/>
              </a:lnSpc>
              <a:spcBef>
                <a:spcPts val="265"/>
              </a:spcBef>
            </a:pPr>
            <a:r>
              <a:rPr sz="1300" b="1" spc="5" dirty="0">
                <a:latin typeface="Corbel"/>
                <a:cs typeface="Corbel"/>
              </a:rPr>
              <a:t>4.</a:t>
            </a:r>
            <a:r>
              <a:rPr sz="1300" b="1" spc="-90" dirty="0">
                <a:latin typeface="Corbel"/>
                <a:cs typeface="Corbel"/>
              </a:rPr>
              <a:t> </a:t>
            </a:r>
            <a:r>
              <a:rPr sz="1300" b="1" spc="5" dirty="0">
                <a:latin typeface="Corbel"/>
                <a:cs typeface="Corbel"/>
              </a:rPr>
              <a:t>Valuta</a:t>
            </a:r>
            <a:r>
              <a:rPr sz="1300" b="1" spc="-5" dirty="0">
                <a:latin typeface="Corbel"/>
                <a:cs typeface="Corbel"/>
              </a:rPr>
              <a:t>r</a:t>
            </a:r>
            <a:r>
              <a:rPr sz="1300" b="1" spc="5" dirty="0">
                <a:latin typeface="Corbel"/>
                <a:cs typeface="Corbel"/>
              </a:rPr>
              <a:t>e  </a:t>
            </a:r>
            <a:r>
              <a:rPr sz="1300" b="1" spc="-5" dirty="0">
                <a:latin typeface="Corbel"/>
                <a:cs typeface="Corbel"/>
              </a:rPr>
              <a:t>l’azione</a:t>
            </a:r>
            <a:endParaRPr sz="1300">
              <a:latin typeface="Corbel"/>
              <a:cs typeface="Corbel"/>
            </a:endParaRPr>
          </a:p>
        </p:txBody>
      </p:sp>
      <p:grpSp>
        <p:nvGrpSpPr>
          <p:cNvPr id="27" name="object 16">
            <a:extLst>
              <a:ext uri="{FF2B5EF4-FFF2-40B4-BE49-F238E27FC236}">
                <a16:creationId xmlns:a16="http://schemas.microsoft.com/office/drawing/2014/main" id="{FB43884B-25F6-55D0-3DCA-C807DD527B69}"/>
              </a:ext>
            </a:extLst>
          </p:cNvPr>
          <p:cNvGrpSpPr/>
          <p:nvPr/>
        </p:nvGrpSpPr>
        <p:grpSpPr>
          <a:xfrm>
            <a:off x="2521330" y="2591543"/>
            <a:ext cx="535305" cy="1003300"/>
            <a:chOff x="3168395" y="3140964"/>
            <a:chExt cx="535305" cy="1003300"/>
          </a:xfrm>
        </p:grpSpPr>
        <p:sp>
          <p:nvSpPr>
            <p:cNvPr id="28" name="object 17">
              <a:extLst>
                <a:ext uri="{FF2B5EF4-FFF2-40B4-BE49-F238E27FC236}">
                  <a16:creationId xmlns:a16="http://schemas.microsoft.com/office/drawing/2014/main" id="{B6C4965E-F70A-DBFE-A805-10E3B359ACB5}"/>
                </a:ext>
              </a:extLst>
            </p:cNvPr>
            <p:cNvSpPr/>
            <p:nvPr/>
          </p:nvSpPr>
          <p:spPr>
            <a:xfrm>
              <a:off x="3177539" y="3150108"/>
              <a:ext cx="516890" cy="984885"/>
            </a:xfrm>
            <a:custGeom>
              <a:avLst/>
              <a:gdLst/>
              <a:ahLst/>
              <a:cxnLst/>
              <a:rect l="l" t="t" r="r" b="b"/>
              <a:pathLst>
                <a:path w="516889" h="984885">
                  <a:moveTo>
                    <a:pt x="376427" y="0"/>
                  </a:moveTo>
                  <a:lnTo>
                    <a:pt x="64007" y="30480"/>
                  </a:lnTo>
                  <a:lnTo>
                    <a:pt x="192024" y="106680"/>
                  </a:lnTo>
                  <a:lnTo>
                    <a:pt x="171027" y="152635"/>
                  </a:lnTo>
                  <a:lnTo>
                    <a:pt x="151220" y="199048"/>
                  </a:lnTo>
                  <a:lnTo>
                    <a:pt x="132609" y="245893"/>
                  </a:lnTo>
                  <a:lnTo>
                    <a:pt x="115196" y="293147"/>
                  </a:lnTo>
                  <a:lnTo>
                    <a:pt x="98988" y="340787"/>
                  </a:lnTo>
                  <a:lnTo>
                    <a:pt x="83989" y="388789"/>
                  </a:lnTo>
                  <a:lnTo>
                    <a:pt x="70203" y="437130"/>
                  </a:lnTo>
                  <a:lnTo>
                    <a:pt x="57636" y="485785"/>
                  </a:lnTo>
                  <a:lnTo>
                    <a:pt x="46291" y="534733"/>
                  </a:lnTo>
                  <a:lnTo>
                    <a:pt x="36174" y="583949"/>
                  </a:lnTo>
                  <a:lnTo>
                    <a:pt x="27290" y="633409"/>
                  </a:lnTo>
                  <a:lnTo>
                    <a:pt x="19642" y="683090"/>
                  </a:lnTo>
                  <a:lnTo>
                    <a:pt x="13237" y="732969"/>
                  </a:lnTo>
                  <a:lnTo>
                    <a:pt x="8077" y="783022"/>
                  </a:lnTo>
                  <a:lnTo>
                    <a:pt x="4169" y="833225"/>
                  </a:lnTo>
                  <a:lnTo>
                    <a:pt x="1517" y="883556"/>
                  </a:lnTo>
                  <a:lnTo>
                    <a:pt x="126" y="933990"/>
                  </a:lnTo>
                  <a:lnTo>
                    <a:pt x="0" y="984503"/>
                  </a:lnTo>
                  <a:lnTo>
                    <a:pt x="225551" y="982979"/>
                  </a:lnTo>
                  <a:lnTo>
                    <a:pt x="225675" y="933853"/>
                  </a:lnTo>
                  <a:lnTo>
                    <a:pt x="227180" y="884792"/>
                  </a:lnTo>
                  <a:lnTo>
                    <a:pt x="230055" y="835824"/>
                  </a:lnTo>
                  <a:lnTo>
                    <a:pt x="234291" y="786979"/>
                  </a:lnTo>
                  <a:lnTo>
                    <a:pt x="239874" y="738286"/>
                  </a:lnTo>
                  <a:lnTo>
                    <a:pt x="246795" y="689773"/>
                  </a:lnTo>
                  <a:lnTo>
                    <a:pt x="255042" y="641471"/>
                  </a:lnTo>
                  <a:lnTo>
                    <a:pt x="264604" y="593407"/>
                  </a:lnTo>
                  <a:lnTo>
                    <a:pt x="275470" y="545611"/>
                  </a:lnTo>
                  <a:lnTo>
                    <a:pt x="287628" y="498112"/>
                  </a:lnTo>
                  <a:lnTo>
                    <a:pt x="301067" y="450939"/>
                  </a:lnTo>
                  <a:lnTo>
                    <a:pt x="315777" y="404121"/>
                  </a:lnTo>
                  <a:lnTo>
                    <a:pt x="331746" y="357687"/>
                  </a:lnTo>
                  <a:lnTo>
                    <a:pt x="348963" y="311666"/>
                  </a:lnTo>
                  <a:lnTo>
                    <a:pt x="367416" y="266087"/>
                  </a:lnTo>
                  <a:lnTo>
                    <a:pt x="387096" y="220980"/>
                  </a:lnTo>
                  <a:lnTo>
                    <a:pt x="516635" y="297180"/>
                  </a:lnTo>
                  <a:lnTo>
                    <a:pt x="376427" y="0"/>
                  </a:lnTo>
                  <a:close/>
                </a:path>
              </a:pathLst>
            </a:custGeom>
            <a:solidFill>
              <a:srgbClr val="FFCA08"/>
            </a:solidFill>
          </p:spPr>
          <p:txBody>
            <a:bodyPr wrap="square" lIns="0" tIns="0" rIns="0" bIns="0" rtlCol="0"/>
            <a:lstStyle/>
            <a:p>
              <a:endParaRPr/>
            </a:p>
          </p:txBody>
        </p:sp>
        <p:sp>
          <p:nvSpPr>
            <p:cNvPr id="29" name="object 18">
              <a:extLst>
                <a:ext uri="{FF2B5EF4-FFF2-40B4-BE49-F238E27FC236}">
                  <a16:creationId xmlns:a16="http://schemas.microsoft.com/office/drawing/2014/main" id="{F6940E09-494A-E4A7-DA02-EB5C39BD837D}"/>
                </a:ext>
              </a:extLst>
            </p:cNvPr>
            <p:cNvSpPr/>
            <p:nvPr/>
          </p:nvSpPr>
          <p:spPr>
            <a:xfrm>
              <a:off x="3168395" y="3140964"/>
              <a:ext cx="535305" cy="1003300"/>
            </a:xfrm>
            <a:custGeom>
              <a:avLst/>
              <a:gdLst/>
              <a:ahLst/>
              <a:cxnLst/>
              <a:rect l="l" t="t" r="r" b="b"/>
              <a:pathLst>
                <a:path w="535304" h="1003300">
                  <a:moveTo>
                    <a:pt x="190753" y="119110"/>
                  </a:moveTo>
                  <a:lnTo>
                    <a:pt x="147828" y="216407"/>
                  </a:lnTo>
                  <a:lnTo>
                    <a:pt x="108204" y="323088"/>
                  </a:lnTo>
                  <a:lnTo>
                    <a:pt x="91440" y="377951"/>
                  </a:lnTo>
                  <a:lnTo>
                    <a:pt x="74675" y="431291"/>
                  </a:lnTo>
                  <a:lnTo>
                    <a:pt x="60959" y="487679"/>
                  </a:lnTo>
                  <a:lnTo>
                    <a:pt x="47243" y="542543"/>
                  </a:lnTo>
                  <a:lnTo>
                    <a:pt x="36575" y="597407"/>
                  </a:lnTo>
                  <a:lnTo>
                    <a:pt x="25907" y="653795"/>
                  </a:lnTo>
                  <a:lnTo>
                    <a:pt x="10668" y="766571"/>
                  </a:lnTo>
                  <a:lnTo>
                    <a:pt x="6095" y="822959"/>
                  </a:lnTo>
                  <a:lnTo>
                    <a:pt x="3048" y="880871"/>
                  </a:lnTo>
                  <a:lnTo>
                    <a:pt x="0" y="937259"/>
                  </a:lnTo>
                  <a:lnTo>
                    <a:pt x="0" y="996695"/>
                  </a:lnTo>
                  <a:lnTo>
                    <a:pt x="6095" y="1002791"/>
                  </a:lnTo>
                  <a:lnTo>
                    <a:pt x="9143" y="1002791"/>
                  </a:lnTo>
                  <a:lnTo>
                    <a:pt x="239268" y="1001267"/>
                  </a:lnTo>
                  <a:lnTo>
                    <a:pt x="242316" y="996695"/>
                  </a:lnTo>
                  <a:lnTo>
                    <a:pt x="242316" y="993647"/>
                  </a:lnTo>
                  <a:lnTo>
                    <a:pt x="16763" y="993647"/>
                  </a:lnTo>
                  <a:lnTo>
                    <a:pt x="9143" y="986027"/>
                  </a:lnTo>
                  <a:lnTo>
                    <a:pt x="16763" y="985976"/>
                  </a:lnTo>
                  <a:lnTo>
                    <a:pt x="16763" y="937259"/>
                  </a:lnTo>
                  <a:lnTo>
                    <a:pt x="22859" y="824483"/>
                  </a:lnTo>
                  <a:lnTo>
                    <a:pt x="27431" y="768095"/>
                  </a:lnTo>
                  <a:lnTo>
                    <a:pt x="35051" y="711707"/>
                  </a:lnTo>
                  <a:lnTo>
                    <a:pt x="42671" y="656843"/>
                  </a:lnTo>
                  <a:lnTo>
                    <a:pt x="51815" y="600455"/>
                  </a:lnTo>
                  <a:lnTo>
                    <a:pt x="76200" y="490727"/>
                  </a:lnTo>
                  <a:lnTo>
                    <a:pt x="91440" y="435863"/>
                  </a:lnTo>
                  <a:lnTo>
                    <a:pt x="106680" y="382524"/>
                  </a:lnTo>
                  <a:lnTo>
                    <a:pt x="143256" y="275843"/>
                  </a:lnTo>
                  <a:lnTo>
                    <a:pt x="164592" y="222503"/>
                  </a:lnTo>
                  <a:lnTo>
                    <a:pt x="185928" y="170687"/>
                  </a:lnTo>
                  <a:lnTo>
                    <a:pt x="206770" y="123443"/>
                  </a:lnTo>
                  <a:lnTo>
                    <a:pt x="198119" y="123443"/>
                  </a:lnTo>
                  <a:lnTo>
                    <a:pt x="190753" y="119110"/>
                  </a:lnTo>
                  <a:close/>
                </a:path>
                <a:path w="535304" h="1003300">
                  <a:moveTo>
                    <a:pt x="16763" y="985976"/>
                  </a:moveTo>
                  <a:lnTo>
                    <a:pt x="9143" y="986027"/>
                  </a:lnTo>
                  <a:lnTo>
                    <a:pt x="16763" y="993647"/>
                  </a:lnTo>
                  <a:lnTo>
                    <a:pt x="16763" y="985976"/>
                  </a:lnTo>
                  <a:close/>
                </a:path>
                <a:path w="535304" h="1003300">
                  <a:moveTo>
                    <a:pt x="225552" y="984565"/>
                  </a:moveTo>
                  <a:lnTo>
                    <a:pt x="16763" y="985976"/>
                  </a:lnTo>
                  <a:lnTo>
                    <a:pt x="16763" y="993647"/>
                  </a:lnTo>
                  <a:lnTo>
                    <a:pt x="242316" y="993647"/>
                  </a:lnTo>
                  <a:lnTo>
                    <a:pt x="242316" y="992123"/>
                  </a:lnTo>
                  <a:lnTo>
                    <a:pt x="225552" y="992123"/>
                  </a:lnTo>
                  <a:lnTo>
                    <a:pt x="225552" y="984565"/>
                  </a:lnTo>
                  <a:close/>
                </a:path>
                <a:path w="535304" h="1003300">
                  <a:moveTo>
                    <a:pt x="234695" y="984503"/>
                  </a:moveTo>
                  <a:lnTo>
                    <a:pt x="225552" y="984565"/>
                  </a:lnTo>
                  <a:lnTo>
                    <a:pt x="225552" y="992123"/>
                  </a:lnTo>
                  <a:lnTo>
                    <a:pt x="234695" y="984503"/>
                  </a:lnTo>
                  <a:close/>
                </a:path>
                <a:path w="535304" h="1003300">
                  <a:moveTo>
                    <a:pt x="242316" y="984503"/>
                  </a:moveTo>
                  <a:lnTo>
                    <a:pt x="234695" y="984503"/>
                  </a:lnTo>
                  <a:lnTo>
                    <a:pt x="225552" y="992123"/>
                  </a:lnTo>
                  <a:lnTo>
                    <a:pt x="242316" y="992123"/>
                  </a:lnTo>
                  <a:lnTo>
                    <a:pt x="242316" y="984503"/>
                  </a:lnTo>
                  <a:close/>
                </a:path>
                <a:path w="535304" h="1003300">
                  <a:moveTo>
                    <a:pt x="399287" y="222503"/>
                  </a:moveTo>
                  <a:lnTo>
                    <a:pt x="394716" y="222503"/>
                  </a:lnTo>
                  <a:lnTo>
                    <a:pt x="391668" y="224027"/>
                  </a:lnTo>
                  <a:lnTo>
                    <a:pt x="368807" y="272795"/>
                  </a:lnTo>
                  <a:lnTo>
                    <a:pt x="350519" y="318515"/>
                  </a:lnTo>
                  <a:lnTo>
                    <a:pt x="333756" y="364236"/>
                  </a:lnTo>
                  <a:lnTo>
                    <a:pt x="316992" y="411479"/>
                  </a:lnTo>
                  <a:lnTo>
                    <a:pt x="301752" y="457200"/>
                  </a:lnTo>
                  <a:lnTo>
                    <a:pt x="288035" y="504443"/>
                  </a:lnTo>
                  <a:lnTo>
                    <a:pt x="275844" y="553211"/>
                  </a:lnTo>
                  <a:lnTo>
                    <a:pt x="265175" y="600455"/>
                  </a:lnTo>
                  <a:lnTo>
                    <a:pt x="256031" y="649223"/>
                  </a:lnTo>
                  <a:lnTo>
                    <a:pt x="240792" y="746759"/>
                  </a:lnTo>
                  <a:lnTo>
                    <a:pt x="234695" y="795527"/>
                  </a:lnTo>
                  <a:lnTo>
                    <a:pt x="230123" y="844295"/>
                  </a:lnTo>
                  <a:lnTo>
                    <a:pt x="227075" y="893063"/>
                  </a:lnTo>
                  <a:lnTo>
                    <a:pt x="225552" y="943355"/>
                  </a:lnTo>
                  <a:lnTo>
                    <a:pt x="225552" y="984565"/>
                  </a:lnTo>
                  <a:lnTo>
                    <a:pt x="242316" y="984503"/>
                  </a:lnTo>
                  <a:lnTo>
                    <a:pt x="242316" y="943355"/>
                  </a:lnTo>
                  <a:lnTo>
                    <a:pt x="243840" y="894587"/>
                  </a:lnTo>
                  <a:lnTo>
                    <a:pt x="246887" y="845819"/>
                  </a:lnTo>
                  <a:lnTo>
                    <a:pt x="251459" y="797051"/>
                  </a:lnTo>
                  <a:lnTo>
                    <a:pt x="263652" y="699515"/>
                  </a:lnTo>
                  <a:lnTo>
                    <a:pt x="281940" y="605027"/>
                  </a:lnTo>
                  <a:lnTo>
                    <a:pt x="292607" y="556259"/>
                  </a:lnTo>
                  <a:lnTo>
                    <a:pt x="304799" y="509015"/>
                  </a:lnTo>
                  <a:lnTo>
                    <a:pt x="318516" y="463295"/>
                  </a:lnTo>
                  <a:lnTo>
                    <a:pt x="332231" y="416051"/>
                  </a:lnTo>
                  <a:lnTo>
                    <a:pt x="365759" y="324612"/>
                  </a:lnTo>
                  <a:lnTo>
                    <a:pt x="384047" y="278891"/>
                  </a:lnTo>
                  <a:lnTo>
                    <a:pt x="400534" y="242114"/>
                  </a:lnTo>
                  <a:lnTo>
                    <a:pt x="393192" y="237743"/>
                  </a:lnTo>
                  <a:lnTo>
                    <a:pt x="403859" y="234695"/>
                  </a:lnTo>
                  <a:lnTo>
                    <a:pt x="418947" y="234695"/>
                  </a:lnTo>
                  <a:lnTo>
                    <a:pt x="400811" y="224027"/>
                  </a:lnTo>
                  <a:lnTo>
                    <a:pt x="399287" y="222503"/>
                  </a:lnTo>
                  <a:close/>
                </a:path>
                <a:path w="535304" h="1003300">
                  <a:moveTo>
                    <a:pt x="418947" y="234695"/>
                  </a:moveTo>
                  <a:lnTo>
                    <a:pt x="403859" y="234695"/>
                  </a:lnTo>
                  <a:lnTo>
                    <a:pt x="400534" y="242114"/>
                  </a:lnTo>
                  <a:lnTo>
                    <a:pt x="521207" y="313943"/>
                  </a:lnTo>
                  <a:lnTo>
                    <a:pt x="524256" y="315467"/>
                  </a:lnTo>
                  <a:lnTo>
                    <a:pt x="528827" y="315467"/>
                  </a:lnTo>
                  <a:lnTo>
                    <a:pt x="531875" y="312419"/>
                  </a:lnTo>
                  <a:lnTo>
                    <a:pt x="534923" y="310895"/>
                  </a:lnTo>
                  <a:lnTo>
                    <a:pt x="518159" y="310895"/>
                  </a:lnTo>
                  <a:lnTo>
                    <a:pt x="506592" y="286251"/>
                  </a:lnTo>
                  <a:lnTo>
                    <a:pt x="418947" y="234695"/>
                  </a:lnTo>
                  <a:close/>
                </a:path>
                <a:path w="535304" h="1003300">
                  <a:moveTo>
                    <a:pt x="506592" y="286251"/>
                  </a:moveTo>
                  <a:lnTo>
                    <a:pt x="518159" y="310895"/>
                  </a:lnTo>
                  <a:lnTo>
                    <a:pt x="530351" y="300227"/>
                  </a:lnTo>
                  <a:lnTo>
                    <a:pt x="506592" y="286251"/>
                  </a:lnTo>
                  <a:close/>
                </a:path>
                <a:path w="535304" h="1003300">
                  <a:moveTo>
                    <a:pt x="396768" y="12191"/>
                  </a:moveTo>
                  <a:lnTo>
                    <a:pt x="377952" y="12191"/>
                  </a:lnTo>
                  <a:lnTo>
                    <a:pt x="387095" y="16763"/>
                  </a:lnTo>
                  <a:lnTo>
                    <a:pt x="380403" y="17413"/>
                  </a:lnTo>
                  <a:lnTo>
                    <a:pt x="506592" y="286251"/>
                  </a:lnTo>
                  <a:lnTo>
                    <a:pt x="530351" y="300227"/>
                  </a:lnTo>
                  <a:lnTo>
                    <a:pt x="518159" y="310895"/>
                  </a:lnTo>
                  <a:lnTo>
                    <a:pt x="534923" y="310895"/>
                  </a:lnTo>
                  <a:lnTo>
                    <a:pt x="534923" y="306324"/>
                  </a:lnTo>
                  <a:lnTo>
                    <a:pt x="533399" y="303275"/>
                  </a:lnTo>
                  <a:lnTo>
                    <a:pt x="396768" y="12191"/>
                  </a:lnTo>
                  <a:close/>
                </a:path>
                <a:path w="535304" h="1003300">
                  <a:moveTo>
                    <a:pt x="403859" y="234695"/>
                  </a:moveTo>
                  <a:lnTo>
                    <a:pt x="393192" y="237743"/>
                  </a:lnTo>
                  <a:lnTo>
                    <a:pt x="400534" y="242114"/>
                  </a:lnTo>
                  <a:lnTo>
                    <a:pt x="403859" y="234695"/>
                  </a:lnTo>
                  <a:close/>
                </a:path>
                <a:path w="535304" h="1003300">
                  <a:moveTo>
                    <a:pt x="193547" y="112775"/>
                  </a:moveTo>
                  <a:lnTo>
                    <a:pt x="190753" y="119110"/>
                  </a:lnTo>
                  <a:lnTo>
                    <a:pt x="198119" y="123443"/>
                  </a:lnTo>
                  <a:lnTo>
                    <a:pt x="193547" y="112775"/>
                  </a:lnTo>
                  <a:close/>
                </a:path>
                <a:path w="535304" h="1003300">
                  <a:moveTo>
                    <a:pt x="210819" y="112775"/>
                  </a:moveTo>
                  <a:lnTo>
                    <a:pt x="193547" y="112775"/>
                  </a:lnTo>
                  <a:lnTo>
                    <a:pt x="198119" y="123443"/>
                  </a:lnTo>
                  <a:lnTo>
                    <a:pt x="206770" y="123443"/>
                  </a:lnTo>
                  <a:lnTo>
                    <a:pt x="208787" y="118871"/>
                  </a:lnTo>
                  <a:lnTo>
                    <a:pt x="211835" y="115824"/>
                  </a:lnTo>
                  <a:lnTo>
                    <a:pt x="210819" y="112775"/>
                  </a:lnTo>
                  <a:close/>
                </a:path>
                <a:path w="535304" h="1003300">
                  <a:moveTo>
                    <a:pt x="388619" y="0"/>
                  </a:moveTo>
                  <a:lnTo>
                    <a:pt x="385571" y="0"/>
                  </a:lnTo>
                  <a:lnTo>
                    <a:pt x="71627" y="30479"/>
                  </a:lnTo>
                  <a:lnTo>
                    <a:pt x="65531" y="33527"/>
                  </a:lnTo>
                  <a:lnTo>
                    <a:pt x="64007" y="38100"/>
                  </a:lnTo>
                  <a:lnTo>
                    <a:pt x="64007" y="41148"/>
                  </a:lnTo>
                  <a:lnTo>
                    <a:pt x="65531" y="44195"/>
                  </a:lnTo>
                  <a:lnTo>
                    <a:pt x="68580" y="47243"/>
                  </a:lnTo>
                  <a:lnTo>
                    <a:pt x="190753" y="119110"/>
                  </a:lnTo>
                  <a:lnTo>
                    <a:pt x="193547" y="112775"/>
                  </a:lnTo>
                  <a:lnTo>
                    <a:pt x="210819" y="112775"/>
                  </a:lnTo>
                  <a:lnTo>
                    <a:pt x="210311" y="111251"/>
                  </a:lnTo>
                  <a:lnTo>
                    <a:pt x="205740" y="108203"/>
                  </a:lnTo>
                  <a:lnTo>
                    <a:pt x="103327" y="47243"/>
                  </a:lnTo>
                  <a:lnTo>
                    <a:pt x="73151" y="47243"/>
                  </a:lnTo>
                  <a:lnTo>
                    <a:pt x="77724" y="32003"/>
                  </a:lnTo>
                  <a:lnTo>
                    <a:pt x="230124" y="32003"/>
                  </a:lnTo>
                  <a:lnTo>
                    <a:pt x="380403" y="17413"/>
                  </a:lnTo>
                  <a:lnTo>
                    <a:pt x="377952" y="12191"/>
                  </a:lnTo>
                  <a:lnTo>
                    <a:pt x="396768" y="12191"/>
                  </a:lnTo>
                  <a:lnTo>
                    <a:pt x="393192" y="4571"/>
                  </a:lnTo>
                  <a:lnTo>
                    <a:pt x="391668" y="1524"/>
                  </a:lnTo>
                  <a:lnTo>
                    <a:pt x="388619" y="0"/>
                  </a:lnTo>
                  <a:close/>
                </a:path>
                <a:path w="535304" h="1003300">
                  <a:moveTo>
                    <a:pt x="77724" y="32003"/>
                  </a:moveTo>
                  <a:lnTo>
                    <a:pt x="73151" y="47243"/>
                  </a:lnTo>
                  <a:lnTo>
                    <a:pt x="99095" y="44725"/>
                  </a:lnTo>
                  <a:lnTo>
                    <a:pt x="77724" y="32003"/>
                  </a:lnTo>
                  <a:close/>
                </a:path>
                <a:path w="535304" h="1003300">
                  <a:moveTo>
                    <a:pt x="99095" y="44725"/>
                  </a:moveTo>
                  <a:lnTo>
                    <a:pt x="73151" y="47243"/>
                  </a:lnTo>
                  <a:lnTo>
                    <a:pt x="103327" y="47243"/>
                  </a:lnTo>
                  <a:lnTo>
                    <a:pt x="99095" y="44725"/>
                  </a:lnTo>
                  <a:close/>
                </a:path>
                <a:path w="535304" h="1003300">
                  <a:moveTo>
                    <a:pt x="230124" y="32003"/>
                  </a:moveTo>
                  <a:lnTo>
                    <a:pt x="77724" y="32003"/>
                  </a:lnTo>
                  <a:lnTo>
                    <a:pt x="99095" y="44725"/>
                  </a:lnTo>
                  <a:lnTo>
                    <a:pt x="230124" y="32003"/>
                  </a:lnTo>
                  <a:close/>
                </a:path>
                <a:path w="535304" h="1003300">
                  <a:moveTo>
                    <a:pt x="377952" y="12191"/>
                  </a:moveTo>
                  <a:lnTo>
                    <a:pt x="380403" y="17413"/>
                  </a:lnTo>
                  <a:lnTo>
                    <a:pt x="387095" y="16763"/>
                  </a:lnTo>
                  <a:lnTo>
                    <a:pt x="377952" y="12191"/>
                  </a:lnTo>
                  <a:close/>
                </a:path>
              </a:pathLst>
            </a:custGeom>
            <a:solidFill>
              <a:srgbClr val="FFFFFF"/>
            </a:solidFill>
          </p:spPr>
          <p:txBody>
            <a:bodyPr wrap="square" lIns="0" tIns="0" rIns="0" bIns="0" rtlCol="0"/>
            <a:lstStyle/>
            <a:p>
              <a:endParaRPr/>
            </a:p>
          </p:txBody>
        </p:sp>
      </p:grpSp>
      <p:sp>
        <p:nvSpPr>
          <p:cNvPr id="30" name="object 19">
            <a:extLst>
              <a:ext uri="{FF2B5EF4-FFF2-40B4-BE49-F238E27FC236}">
                <a16:creationId xmlns:a16="http://schemas.microsoft.com/office/drawing/2014/main" id="{37989803-824A-A6FC-C1D0-2B5D5FF1A761}"/>
              </a:ext>
            </a:extLst>
          </p:cNvPr>
          <p:cNvSpPr txBox="1"/>
          <p:nvPr/>
        </p:nvSpPr>
        <p:spPr>
          <a:xfrm>
            <a:off x="2875575" y="1786373"/>
            <a:ext cx="1080135" cy="409575"/>
          </a:xfrm>
          <a:prstGeom prst="rect">
            <a:avLst/>
          </a:prstGeom>
        </p:spPr>
        <p:txBody>
          <a:bodyPr vert="horz" wrap="square" lIns="0" tIns="33655" rIns="0" bIns="0" rtlCol="0">
            <a:spAutoFit/>
          </a:bodyPr>
          <a:lstStyle/>
          <a:p>
            <a:pPr marL="12700" marR="5080" indent="101600">
              <a:lnSpc>
                <a:spcPts val="1440"/>
              </a:lnSpc>
              <a:spcBef>
                <a:spcPts val="265"/>
              </a:spcBef>
            </a:pPr>
            <a:r>
              <a:rPr sz="1300" b="1" spc="5" dirty="0">
                <a:latin typeface="Corbel"/>
                <a:cs typeface="Corbel"/>
              </a:rPr>
              <a:t>5. </a:t>
            </a:r>
            <a:r>
              <a:rPr sz="1300" b="1" dirty="0">
                <a:latin typeface="Corbel"/>
                <a:cs typeface="Corbel"/>
              </a:rPr>
              <a:t>Riflettere </a:t>
            </a:r>
            <a:r>
              <a:rPr sz="1300" b="1" spc="5" dirty="0">
                <a:latin typeface="Corbel"/>
                <a:cs typeface="Corbel"/>
              </a:rPr>
              <a:t> </a:t>
            </a:r>
            <a:r>
              <a:rPr sz="1300" b="1" spc="-5" dirty="0">
                <a:latin typeface="Corbel"/>
                <a:cs typeface="Corbel"/>
              </a:rPr>
              <a:t>sull’esperienza</a:t>
            </a:r>
            <a:endParaRPr sz="1300">
              <a:latin typeface="Corbel"/>
              <a:cs typeface="Corbel"/>
            </a:endParaRPr>
          </a:p>
        </p:txBody>
      </p:sp>
      <p:grpSp>
        <p:nvGrpSpPr>
          <p:cNvPr id="31" name="object 20">
            <a:extLst>
              <a:ext uri="{FF2B5EF4-FFF2-40B4-BE49-F238E27FC236}">
                <a16:creationId xmlns:a16="http://schemas.microsoft.com/office/drawing/2014/main" id="{043BD7E8-455E-4BD3-37C7-AB509E249993}"/>
              </a:ext>
            </a:extLst>
          </p:cNvPr>
          <p:cNvGrpSpPr/>
          <p:nvPr/>
        </p:nvGrpSpPr>
        <p:grpSpPr>
          <a:xfrm>
            <a:off x="3959986" y="1439399"/>
            <a:ext cx="1144905" cy="521334"/>
            <a:chOff x="4607051" y="1988820"/>
            <a:chExt cx="1144905" cy="521334"/>
          </a:xfrm>
        </p:grpSpPr>
        <p:sp>
          <p:nvSpPr>
            <p:cNvPr id="32" name="object 21">
              <a:extLst>
                <a:ext uri="{FF2B5EF4-FFF2-40B4-BE49-F238E27FC236}">
                  <a16:creationId xmlns:a16="http://schemas.microsoft.com/office/drawing/2014/main" id="{A5626D86-9F70-E9E4-B204-F1E841E5EA13}"/>
                </a:ext>
              </a:extLst>
            </p:cNvPr>
            <p:cNvSpPr/>
            <p:nvPr/>
          </p:nvSpPr>
          <p:spPr>
            <a:xfrm>
              <a:off x="4614671" y="1996440"/>
              <a:ext cx="1127760" cy="504825"/>
            </a:xfrm>
            <a:custGeom>
              <a:avLst/>
              <a:gdLst/>
              <a:ahLst/>
              <a:cxnLst/>
              <a:rect l="l" t="t" r="r" b="b"/>
              <a:pathLst>
                <a:path w="1127760" h="504825">
                  <a:moveTo>
                    <a:pt x="1022603" y="0"/>
                  </a:moveTo>
                  <a:lnTo>
                    <a:pt x="978407" y="143255"/>
                  </a:lnTo>
                  <a:lnTo>
                    <a:pt x="929639" y="134042"/>
                  </a:lnTo>
                  <a:lnTo>
                    <a:pt x="880731" y="126060"/>
                  </a:lnTo>
                  <a:lnTo>
                    <a:pt x="831705" y="119306"/>
                  </a:lnTo>
                  <a:lnTo>
                    <a:pt x="782580" y="113775"/>
                  </a:lnTo>
                  <a:lnTo>
                    <a:pt x="733377" y="109466"/>
                  </a:lnTo>
                  <a:lnTo>
                    <a:pt x="684117" y="106373"/>
                  </a:lnTo>
                  <a:lnTo>
                    <a:pt x="634821" y="104495"/>
                  </a:lnTo>
                  <a:lnTo>
                    <a:pt x="585508" y="103827"/>
                  </a:lnTo>
                  <a:lnTo>
                    <a:pt x="536200" y="104365"/>
                  </a:lnTo>
                  <a:lnTo>
                    <a:pt x="486917" y="106108"/>
                  </a:lnTo>
                  <a:lnTo>
                    <a:pt x="437680" y="109051"/>
                  </a:lnTo>
                  <a:lnTo>
                    <a:pt x="388510" y="113190"/>
                  </a:lnTo>
                  <a:lnTo>
                    <a:pt x="339426" y="118523"/>
                  </a:lnTo>
                  <a:lnTo>
                    <a:pt x="290450" y="125045"/>
                  </a:lnTo>
                  <a:lnTo>
                    <a:pt x="241601" y="132754"/>
                  </a:lnTo>
                  <a:lnTo>
                    <a:pt x="192901" y="141646"/>
                  </a:lnTo>
                  <a:lnTo>
                    <a:pt x="144371" y="151718"/>
                  </a:lnTo>
                  <a:lnTo>
                    <a:pt x="96030" y="162965"/>
                  </a:lnTo>
                  <a:lnTo>
                    <a:pt x="47899" y="175386"/>
                  </a:lnTo>
                  <a:lnTo>
                    <a:pt x="0" y="188975"/>
                  </a:lnTo>
                  <a:lnTo>
                    <a:pt x="65532" y="405384"/>
                  </a:lnTo>
                  <a:lnTo>
                    <a:pt x="114110" y="391557"/>
                  </a:lnTo>
                  <a:lnTo>
                    <a:pt x="163007" y="379125"/>
                  </a:lnTo>
                  <a:lnTo>
                    <a:pt x="212192" y="368088"/>
                  </a:lnTo>
                  <a:lnTo>
                    <a:pt x="261636" y="358449"/>
                  </a:lnTo>
                  <a:lnTo>
                    <a:pt x="311309" y="350210"/>
                  </a:lnTo>
                  <a:lnTo>
                    <a:pt x="361181" y="343373"/>
                  </a:lnTo>
                  <a:lnTo>
                    <a:pt x="411222" y="337938"/>
                  </a:lnTo>
                  <a:lnTo>
                    <a:pt x="461403" y="333909"/>
                  </a:lnTo>
                  <a:lnTo>
                    <a:pt x="511694" y="331287"/>
                  </a:lnTo>
                  <a:lnTo>
                    <a:pt x="562065" y="330074"/>
                  </a:lnTo>
                  <a:lnTo>
                    <a:pt x="612486" y="330271"/>
                  </a:lnTo>
                  <a:lnTo>
                    <a:pt x="662927" y="331882"/>
                  </a:lnTo>
                  <a:lnTo>
                    <a:pt x="713359" y="334906"/>
                  </a:lnTo>
                  <a:lnTo>
                    <a:pt x="763752" y="339347"/>
                  </a:lnTo>
                  <a:lnTo>
                    <a:pt x="814077" y="345207"/>
                  </a:lnTo>
                  <a:lnTo>
                    <a:pt x="864302" y="352486"/>
                  </a:lnTo>
                  <a:lnTo>
                    <a:pt x="914399" y="361188"/>
                  </a:lnTo>
                  <a:lnTo>
                    <a:pt x="871727" y="504443"/>
                  </a:lnTo>
                  <a:lnTo>
                    <a:pt x="1127759" y="297179"/>
                  </a:lnTo>
                  <a:lnTo>
                    <a:pt x="1022603" y="0"/>
                  </a:lnTo>
                  <a:close/>
                </a:path>
              </a:pathLst>
            </a:custGeom>
            <a:solidFill>
              <a:srgbClr val="FFCA08"/>
            </a:solidFill>
          </p:spPr>
          <p:txBody>
            <a:bodyPr wrap="square" lIns="0" tIns="0" rIns="0" bIns="0" rtlCol="0"/>
            <a:lstStyle/>
            <a:p>
              <a:endParaRPr/>
            </a:p>
          </p:txBody>
        </p:sp>
        <p:sp>
          <p:nvSpPr>
            <p:cNvPr id="33" name="object 22">
              <a:extLst>
                <a:ext uri="{FF2B5EF4-FFF2-40B4-BE49-F238E27FC236}">
                  <a16:creationId xmlns:a16="http://schemas.microsoft.com/office/drawing/2014/main" id="{CB57A0B2-F323-B8C7-8615-B2FC1B0A9A51}"/>
                </a:ext>
              </a:extLst>
            </p:cNvPr>
            <p:cNvSpPr/>
            <p:nvPr/>
          </p:nvSpPr>
          <p:spPr>
            <a:xfrm>
              <a:off x="4607051" y="1988820"/>
              <a:ext cx="1144905" cy="521334"/>
            </a:xfrm>
            <a:custGeom>
              <a:avLst/>
              <a:gdLst/>
              <a:ahLst/>
              <a:cxnLst/>
              <a:rect l="l" t="t" r="r" b="b"/>
              <a:pathLst>
                <a:path w="1144904" h="521335">
                  <a:moveTo>
                    <a:pt x="911580" y="374899"/>
                  </a:moveTo>
                  <a:lnTo>
                    <a:pt x="870203" y="509016"/>
                  </a:lnTo>
                  <a:lnTo>
                    <a:pt x="870203" y="516636"/>
                  </a:lnTo>
                  <a:lnTo>
                    <a:pt x="873251" y="518160"/>
                  </a:lnTo>
                  <a:lnTo>
                    <a:pt x="876299" y="521208"/>
                  </a:lnTo>
                  <a:lnTo>
                    <a:pt x="880871" y="521208"/>
                  </a:lnTo>
                  <a:lnTo>
                    <a:pt x="883919" y="518160"/>
                  </a:lnTo>
                  <a:lnTo>
                    <a:pt x="889567" y="513588"/>
                  </a:lnTo>
                  <a:lnTo>
                    <a:pt x="886967" y="513588"/>
                  </a:lnTo>
                  <a:lnTo>
                    <a:pt x="873251" y="505968"/>
                  </a:lnTo>
                  <a:lnTo>
                    <a:pt x="894317" y="488915"/>
                  </a:lnTo>
                  <a:lnTo>
                    <a:pt x="927824" y="376428"/>
                  </a:lnTo>
                  <a:lnTo>
                    <a:pt x="920495" y="376428"/>
                  </a:lnTo>
                  <a:lnTo>
                    <a:pt x="911580" y="374899"/>
                  </a:lnTo>
                  <a:close/>
                </a:path>
                <a:path w="1144904" h="521335">
                  <a:moveTo>
                    <a:pt x="894317" y="488915"/>
                  </a:moveTo>
                  <a:lnTo>
                    <a:pt x="873251" y="505968"/>
                  </a:lnTo>
                  <a:lnTo>
                    <a:pt x="886967" y="513588"/>
                  </a:lnTo>
                  <a:lnTo>
                    <a:pt x="894317" y="488915"/>
                  </a:lnTo>
                  <a:close/>
                </a:path>
                <a:path w="1144904" h="521335">
                  <a:moveTo>
                    <a:pt x="1124420" y="302641"/>
                  </a:moveTo>
                  <a:lnTo>
                    <a:pt x="894317" y="488915"/>
                  </a:lnTo>
                  <a:lnTo>
                    <a:pt x="886967" y="513588"/>
                  </a:lnTo>
                  <a:lnTo>
                    <a:pt x="889567" y="513588"/>
                  </a:lnTo>
                  <a:lnTo>
                    <a:pt x="1139951" y="310896"/>
                  </a:lnTo>
                  <a:lnTo>
                    <a:pt x="1142999" y="309372"/>
                  </a:lnTo>
                  <a:lnTo>
                    <a:pt x="1143507" y="307848"/>
                  </a:lnTo>
                  <a:lnTo>
                    <a:pt x="1126235" y="307848"/>
                  </a:lnTo>
                  <a:lnTo>
                    <a:pt x="1124420" y="302641"/>
                  </a:lnTo>
                  <a:close/>
                </a:path>
                <a:path w="1144904" h="521335">
                  <a:moveTo>
                    <a:pt x="618743" y="103632"/>
                  </a:moveTo>
                  <a:lnTo>
                    <a:pt x="556259" y="103632"/>
                  </a:lnTo>
                  <a:lnTo>
                    <a:pt x="493775" y="105156"/>
                  </a:lnTo>
                  <a:lnTo>
                    <a:pt x="370331" y="114300"/>
                  </a:lnTo>
                  <a:lnTo>
                    <a:pt x="309371" y="121920"/>
                  </a:lnTo>
                  <a:lnTo>
                    <a:pt x="185927" y="143256"/>
                  </a:lnTo>
                  <a:lnTo>
                    <a:pt x="126491" y="156972"/>
                  </a:lnTo>
                  <a:lnTo>
                    <a:pt x="65531" y="172212"/>
                  </a:lnTo>
                  <a:lnTo>
                    <a:pt x="6095" y="188975"/>
                  </a:lnTo>
                  <a:lnTo>
                    <a:pt x="3048" y="188975"/>
                  </a:lnTo>
                  <a:lnTo>
                    <a:pt x="0" y="192024"/>
                  </a:lnTo>
                  <a:lnTo>
                    <a:pt x="0" y="199644"/>
                  </a:lnTo>
                  <a:lnTo>
                    <a:pt x="65531" y="414528"/>
                  </a:lnTo>
                  <a:lnTo>
                    <a:pt x="65531" y="419100"/>
                  </a:lnTo>
                  <a:lnTo>
                    <a:pt x="70103" y="422148"/>
                  </a:lnTo>
                  <a:lnTo>
                    <a:pt x="74675" y="420624"/>
                  </a:lnTo>
                  <a:lnTo>
                    <a:pt x="110947" y="409956"/>
                  </a:lnTo>
                  <a:lnTo>
                    <a:pt x="80772" y="409956"/>
                  </a:lnTo>
                  <a:lnTo>
                    <a:pt x="70103" y="403860"/>
                  </a:lnTo>
                  <a:lnTo>
                    <a:pt x="78325" y="401683"/>
                  </a:lnTo>
                  <a:lnTo>
                    <a:pt x="19919" y="204216"/>
                  </a:lnTo>
                  <a:lnTo>
                    <a:pt x="10667" y="204216"/>
                  </a:lnTo>
                  <a:lnTo>
                    <a:pt x="16763" y="193548"/>
                  </a:lnTo>
                  <a:lnTo>
                    <a:pt x="48490" y="193548"/>
                  </a:lnTo>
                  <a:lnTo>
                    <a:pt x="70103" y="187451"/>
                  </a:lnTo>
                  <a:lnTo>
                    <a:pt x="129539" y="172212"/>
                  </a:lnTo>
                  <a:lnTo>
                    <a:pt x="251459" y="147828"/>
                  </a:lnTo>
                  <a:lnTo>
                    <a:pt x="310895" y="138684"/>
                  </a:lnTo>
                  <a:lnTo>
                    <a:pt x="373379" y="131063"/>
                  </a:lnTo>
                  <a:lnTo>
                    <a:pt x="495299" y="121920"/>
                  </a:lnTo>
                  <a:lnTo>
                    <a:pt x="556259" y="120396"/>
                  </a:lnTo>
                  <a:lnTo>
                    <a:pt x="853135" y="120396"/>
                  </a:lnTo>
                  <a:lnTo>
                    <a:pt x="803147" y="114300"/>
                  </a:lnTo>
                  <a:lnTo>
                    <a:pt x="679703" y="105156"/>
                  </a:lnTo>
                  <a:lnTo>
                    <a:pt x="618743" y="103632"/>
                  </a:lnTo>
                  <a:close/>
                </a:path>
                <a:path w="1144904" h="521335">
                  <a:moveTo>
                    <a:pt x="78325" y="401683"/>
                  </a:moveTo>
                  <a:lnTo>
                    <a:pt x="70103" y="403860"/>
                  </a:lnTo>
                  <a:lnTo>
                    <a:pt x="80772" y="409956"/>
                  </a:lnTo>
                  <a:lnTo>
                    <a:pt x="78325" y="401683"/>
                  </a:lnTo>
                  <a:close/>
                </a:path>
                <a:path w="1144904" h="521335">
                  <a:moveTo>
                    <a:pt x="601979" y="329184"/>
                  </a:moveTo>
                  <a:lnTo>
                    <a:pt x="548639" y="329184"/>
                  </a:lnTo>
                  <a:lnTo>
                    <a:pt x="493775" y="330708"/>
                  </a:lnTo>
                  <a:lnTo>
                    <a:pt x="387095" y="339851"/>
                  </a:lnTo>
                  <a:lnTo>
                    <a:pt x="280415" y="355092"/>
                  </a:lnTo>
                  <a:lnTo>
                    <a:pt x="175260" y="376428"/>
                  </a:lnTo>
                  <a:lnTo>
                    <a:pt x="78325" y="401683"/>
                  </a:lnTo>
                  <a:lnTo>
                    <a:pt x="80772" y="409956"/>
                  </a:lnTo>
                  <a:lnTo>
                    <a:pt x="110947" y="409956"/>
                  </a:lnTo>
                  <a:lnTo>
                    <a:pt x="126491" y="405384"/>
                  </a:lnTo>
                  <a:lnTo>
                    <a:pt x="230123" y="381000"/>
                  </a:lnTo>
                  <a:lnTo>
                    <a:pt x="335279" y="362712"/>
                  </a:lnTo>
                  <a:lnTo>
                    <a:pt x="388619" y="356616"/>
                  </a:lnTo>
                  <a:lnTo>
                    <a:pt x="495299" y="347472"/>
                  </a:lnTo>
                  <a:lnTo>
                    <a:pt x="548639" y="345948"/>
                  </a:lnTo>
                  <a:lnTo>
                    <a:pt x="838199" y="345948"/>
                  </a:lnTo>
                  <a:lnTo>
                    <a:pt x="816863" y="342900"/>
                  </a:lnTo>
                  <a:lnTo>
                    <a:pt x="763523" y="336804"/>
                  </a:lnTo>
                  <a:lnTo>
                    <a:pt x="708659" y="332232"/>
                  </a:lnTo>
                  <a:lnTo>
                    <a:pt x="601979" y="329184"/>
                  </a:lnTo>
                  <a:close/>
                </a:path>
                <a:path w="1144904" h="521335">
                  <a:moveTo>
                    <a:pt x="914399" y="365760"/>
                  </a:moveTo>
                  <a:lnTo>
                    <a:pt x="911580" y="374899"/>
                  </a:lnTo>
                  <a:lnTo>
                    <a:pt x="920495" y="376428"/>
                  </a:lnTo>
                  <a:lnTo>
                    <a:pt x="914399" y="365760"/>
                  </a:lnTo>
                  <a:close/>
                </a:path>
                <a:path w="1144904" h="521335">
                  <a:moveTo>
                    <a:pt x="929639" y="365760"/>
                  </a:moveTo>
                  <a:lnTo>
                    <a:pt x="914399" y="365760"/>
                  </a:lnTo>
                  <a:lnTo>
                    <a:pt x="920495" y="376428"/>
                  </a:lnTo>
                  <a:lnTo>
                    <a:pt x="927824" y="376428"/>
                  </a:lnTo>
                  <a:lnTo>
                    <a:pt x="929639" y="370332"/>
                  </a:lnTo>
                  <a:lnTo>
                    <a:pt x="929639" y="365760"/>
                  </a:lnTo>
                  <a:close/>
                </a:path>
                <a:path w="1144904" h="521335">
                  <a:moveTo>
                    <a:pt x="838199" y="345948"/>
                  </a:moveTo>
                  <a:lnTo>
                    <a:pt x="655319" y="345948"/>
                  </a:lnTo>
                  <a:lnTo>
                    <a:pt x="708659" y="348996"/>
                  </a:lnTo>
                  <a:lnTo>
                    <a:pt x="760475" y="353568"/>
                  </a:lnTo>
                  <a:lnTo>
                    <a:pt x="813815" y="359663"/>
                  </a:lnTo>
                  <a:lnTo>
                    <a:pt x="867155" y="367284"/>
                  </a:lnTo>
                  <a:lnTo>
                    <a:pt x="911580" y="374899"/>
                  </a:lnTo>
                  <a:lnTo>
                    <a:pt x="914399" y="365760"/>
                  </a:lnTo>
                  <a:lnTo>
                    <a:pt x="929639" y="365760"/>
                  </a:lnTo>
                  <a:lnTo>
                    <a:pt x="928115" y="364236"/>
                  </a:lnTo>
                  <a:lnTo>
                    <a:pt x="928115" y="362712"/>
                  </a:lnTo>
                  <a:lnTo>
                    <a:pt x="925067" y="361188"/>
                  </a:lnTo>
                  <a:lnTo>
                    <a:pt x="923543" y="359663"/>
                  </a:lnTo>
                  <a:lnTo>
                    <a:pt x="870203" y="350520"/>
                  </a:lnTo>
                  <a:lnTo>
                    <a:pt x="838199" y="345948"/>
                  </a:lnTo>
                  <a:close/>
                </a:path>
                <a:path w="1144904" h="521335">
                  <a:moveTo>
                    <a:pt x="1129283" y="298704"/>
                  </a:moveTo>
                  <a:lnTo>
                    <a:pt x="1124420" y="302641"/>
                  </a:lnTo>
                  <a:lnTo>
                    <a:pt x="1126235" y="307848"/>
                  </a:lnTo>
                  <a:lnTo>
                    <a:pt x="1129283" y="298704"/>
                  </a:lnTo>
                  <a:close/>
                </a:path>
                <a:path w="1144904" h="521335">
                  <a:moveTo>
                    <a:pt x="1141921" y="298704"/>
                  </a:moveTo>
                  <a:lnTo>
                    <a:pt x="1129283" y="298704"/>
                  </a:lnTo>
                  <a:lnTo>
                    <a:pt x="1126235" y="307848"/>
                  </a:lnTo>
                  <a:lnTo>
                    <a:pt x="1143507" y="307848"/>
                  </a:lnTo>
                  <a:lnTo>
                    <a:pt x="1144523" y="304800"/>
                  </a:lnTo>
                  <a:lnTo>
                    <a:pt x="1142999" y="301751"/>
                  </a:lnTo>
                  <a:lnTo>
                    <a:pt x="1141921" y="298704"/>
                  </a:lnTo>
                  <a:close/>
                </a:path>
                <a:path w="1144904" h="521335">
                  <a:moveTo>
                    <a:pt x="1040001" y="10668"/>
                  </a:moveTo>
                  <a:lnTo>
                    <a:pt x="1037843" y="10668"/>
                  </a:lnTo>
                  <a:lnTo>
                    <a:pt x="1030823" y="34237"/>
                  </a:lnTo>
                  <a:lnTo>
                    <a:pt x="1124420" y="302641"/>
                  </a:lnTo>
                  <a:lnTo>
                    <a:pt x="1129283" y="298704"/>
                  </a:lnTo>
                  <a:lnTo>
                    <a:pt x="1141921" y="298704"/>
                  </a:lnTo>
                  <a:lnTo>
                    <a:pt x="1040001" y="10668"/>
                  </a:lnTo>
                  <a:close/>
                </a:path>
                <a:path w="1144904" h="521335">
                  <a:moveTo>
                    <a:pt x="16763" y="193548"/>
                  </a:moveTo>
                  <a:lnTo>
                    <a:pt x="10667" y="204216"/>
                  </a:lnTo>
                  <a:lnTo>
                    <a:pt x="19206" y="201807"/>
                  </a:lnTo>
                  <a:lnTo>
                    <a:pt x="16763" y="193548"/>
                  </a:lnTo>
                  <a:close/>
                </a:path>
                <a:path w="1144904" h="521335">
                  <a:moveTo>
                    <a:pt x="19206" y="201807"/>
                  </a:moveTo>
                  <a:lnTo>
                    <a:pt x="10667" y="204216"/>
                  </a:lnTo>
                  <a:lnTo>
                    <a:pt x="19919" y="204216"/>
                  </a:lnTo>
                  <a:lnTo>
                    <a:pt x="19206" y="201807"/>
                  </a:lnTo>
                  <a:close/>
                </a:path>
                <a:path w="1144904" h="521335">
                  <a:moveTo>
                    <a:pt x="48490" y="193548"/>
                  </a:moveTo>
                  <a:lnTo>
                    <a:pt x="16763" y="193548"/>
                  </a:lnTo>
                  <a:lnTo>
                    <a:pt x="19206" y="201807"/>
                  </a:lnTo>
                  <a:lnTo>
                    <a:pt x="48490" y="193548"/>
                  </a:lnTo>
                  <a:close/>
                </a:path>
                <a:path w="1144904" h="521335">
                  <a:moveTo>
                    <a:pt x="853135" y="120396"/>
                  </a:moveTo>
                  <a:lnTo>
                    <a:pt x="618743" y="120396"/>
                  </a:lnTo>
                  <a:lnTo>
                    <a:pt x="679703" y="121920"/>
                  </a:lnTo>
                  <a:lnTo>
                    <a:pt x="801623" y="131063"/>
                  </a:lnTo>
                  <a:lnTo>
                    <a:pt x="864107" y="138684"/>
                  </a:lnTo>
                  <a:lnTo>
                    <a:pt x="925067" y="147828"/>
                  </a:lnTo>
                  <a:lnTo>
                    <a:pt x="984503" y="160020"/>
                  </a:lnTo>
                  <a:lnTo>
                    <a:pt x="989075" y="160020"/>
                  </a:lnTo>
                  <a:lnTo>
                    <a:pt x="993647" y="158496"/>
                  </a:lnTo>
                  <a:lnTo>
                    <a:pt x="995171" y="153924"/>
                  </a:lnTo>
                  <a:lnTo>
                    <a:pt x="996533" y="149351"/>
                  </a:lnTo>
                  <a:lnTo>
                    <a:pt x="978407" y="149351"/>
                  </a:lnTo>
                  <a:lnTo>
                    <a:pt x="980586" y="142037"/>
                  </a:lnTo>
                  <a:lnTo>
                    <a:pt x="865631" y="121920"/>
                  </a:lnTo>
                  <a:lnTo>
                    <a:pt x="853135" y="120396"/>
                  </a:lnTo>
                  <a:close/>
                </a:path>
                <a:path w="1144904" h="521335">
                  <a:moveTo>
                    <a:pt x="980586" y="142037"/>
                  </a:moveTo>
                  <a:lnTo>
                    <a:pt x="978407" y="149351"/>
                  </a:lnTo>
                  <a:lnTo>
                    <a:pt x="987551" y="143256"/>
                  </a:lnTo>
                  <a:lnTo>
                    <a:pt x="980586" y="142037"/>
                  </a:lnTo>
                  <a:close/>
                </a:path>
                <a:path w="1144904" h="521335">
                  <a:moveTo>
                    <a:pt x="1033271" y="0"/>
                  </a:moveTo>
                  <a:lnTo>
                    <a:pt x="1025651" y="0"/>
                  </a:lnTo>
                  <a:lnTo>
                    <a:pt x="1022603" y="1524"/>
                  </a:lnTo>
                  <a:lnTo>
                    <a:pt x="1021079" y="6096"/>
                  </a:lnTo>
                  <a:lnTo>
                    <a:pt x="980586" y="142037"/>
                  </a:lnTo>
                  <a:lnTo>
                    <a:pt x="987551" y="143256"/>
                  </a:lnTo>
                  <a:lnTo>
                    <a:pt x="978407" y="149351"/>
                  </a:lnTo>
                  <a:lnTo>
                    <a:pt x="996533" y="149351"/>
                  </a:lnTo>
                  <a:lnTo>
                    <a:pt x="1030823" y="34237"/>
                  </a:lnTo>
                  <a:lnTo>
                    <a:pt x="1022603" y="10668"/>
                  </a:lnTo>
                  <a:lnTo>
                    <a:pt x="1040001" y="10668"/>
                  </a:lnTo>
                  <a:lnTo>
                    <a:pt x="1037843" y="4572"/>
                  </a:lnTo>
                  <a:lnTo>
                    <a:pt x="1036319" y="1524"/>
                  </a:lnTo>
                  <a:lnTo>
                    <a:pt x="1033271" y="0"/>
                  </a:lnTo>
                  <a:close/>
                </a:path>
                <a:path w="1144904" h="521335">
                  <a:moveTo>
                    <a:pt x="1037843" y="10668"/>
                  </a:moveTo>
                  <a:lnTo>
                    <a:pt x="1022603" y="10668"/>
                  </a:lnTo>
                  <a:lnTo>
                    <a:pt x="1030823" y="34237"/>
                  </a:lnTo>
                  <a:lnTo>
                    <a:pt x="1037843" y="10668"/>
                  </a:lnTo>
                  <a:close/>
                </a:path>
              </a:pathLst>
            </a:custGeom>
            <a:solidFill>
              <a:srgbClr val="FFFFFF"/>
            </a:solidFill>
          </p:spPr>
          <p:txBody>
            <a:bodyPr wrap="square" lIns="0" tIns="0" rIns="0" bIns="0" rtlCol="0"/>
            <a:lstStyle/>
            <a:p>
              <a:endParaRPr/>
            </a:p>
          </p:txBody>
        </p:sp>
      </p:grpSp>
      <p:grpSp>
        <p:nvGrpSpPr>
          <p:cNvPr id="34" name="object 23">
            <a:extLst>
              <a:ext uri="{FF2B5EF4-FFF2-40B4-BE49-F238E27FC236}">
                <a16:creationId xmlns:a16="http://schemas.microsoft.com/office/drawing/2014/main" id="{0D2E893A-9F31-8E4C-1469-0DAB3B00B9F1}"/>
              </a:ext>
            </a:extLst>
          </p:cNvPr>
          <p:cNvGrpSpPr/>
          <p:nvPr/>
        </p:nvGrpSpPr>
        <p:grpSpPr>
          <a:xfrm>
            <a:off x="6883018" y="1392155"/>
            <a:ext cx="1172210" cy="1087120"/>
            <a:chOff x="7530083" y="1941576"/>
            <a:chExt cx="1172210" cy="1087120"/>
          </a:xfrm>
        </p:grpSpPr>
        <p:sp>
          <p:nvSpPr>
            <p:cNvPr id="36" name="object 24">
              <a:extLst>
                <a:ext uri="{FF2B5EF4-FFF2-40B4-BE49-F238E27FC236}">
                  <a16:creationId xmlns:a16="http://schemas.microsoft.com/office/drawing/2014/main" id="{0C2F57FF-9E0D-D39C-B24D-B97702659385}"/>
                </a:ext>
              </a:extLst>
            </p:cNvPr>
            <p:cNvSpPr/>
            <p:nvPr/>
          </p:nvSpPr>
          <p:spPr>
            <a:xfrm>
              <a:off x="7539227" y="1949196"/>
              <a:ext cx="1153795" cy="1069975"/>
            </a:xfrm>
            <a:custGeom>
              <a:avLst/>
              <a:gdLst/>
              <a:ahLst/>
              <a:cxnLst/>
              <a:rect l="l" t="t" r="r" b="b"/>
              <a:pathLst>
                <a:path w="1153795" h="1069975">
                  <a:moveTo>
                    <a:pt x="638555" y="537971"/>
                  </a:moveTo>
                  <a:lnTo>
                    <a:pt x="417575" y="537971"/>
                  </a:lnTo>
                  <a:lnTo>
                    <a:pt x="0" y="1069847"/>
                  </a:lnTo>
                  <a:lnTo>
                    <a:pt x="638555" y="537971"/>
                  </a:lnTo>
                  <a:close/>
                </a:path>
                <a:path w="1153795" h="1069975">
                  <a:moveTo>
                    <a:pt x="1065275" y="0"/>
                  </a:moveTo>
                  <a:lnTo>
                    <a:pt x="359663" y="0"/>
                  </a:lnTo>
                  <a:lnTo>
                    <a:pt x="325040" y="6977"/>
                  </a:lnTo>
                  <a:lnTo>
                    <a:pt x="296417" y="26098"/>
                  </a:lnTo>
                  <a:lnTo>
                    <a:pt x="276939" y="54649"/>
                  </a:lnTo>
                  <a:lnTo>
                    <a:pt x="269747" y="89915"/>
                  </a:lnTo>
                  <a:lnTo>
                    <a:pt x="269747" y="448055"/>
                  </a:lnTo>
                  <a:lnTo>
                    <a:pt x="276939" y="482679"/>
                  </a:lnTo>
                  <a:lnTo>
                    <a:pt x="296417" y="511301"/>
                  </a:lnTo>
                  <a:lnTo>
                    <a:pt x="325040" y="530780"/>
                  </a:lnTo>
                  <a:lnTo>
                    <a:pt x="359663" y="537971"/>
                  </a:lnTo>
                  <a:lnTo>
                    <a:pt x="1065275" y="537971"/>
                  </a:lnTo>
                  <a:lnTo>
                    <a:pt x="1099661" y="530780"/>
                  </a:lnTo>
                  <a:lnTo>
                    <a:pt x="1127759" y="511301"/>
                  </a:lnTo>
                  <a:lnTo>
                    <a:pt x="1146714" y="482679"/>
                  </a:lnTo>
                  <a:lnTo>
                    <a:pt x="1153667" y="448055"/>
                  </a:lnTo>
                  <a:lnTo>
                    <a:pt x="1153667" y="89915"/>
                  </a:lnTo>
                  <a:lnTo>
                    <a:pt x="1146714" y="54649"/>
                  </a:lnTo>
                  <a:lnTo>
                    <a:pt x="1127759" y="26098"/>
                  </a:lnTo>
                  <a:lnTo>
                    <a:pt x="1099661" y="6977"/>
                  </a:lnTo>
                  <a:lnTo>
                    <a:pt x="1065275" y="0"/>
                  </a:lnTo>
                  <a:close/>
                </a:path>
              </a:pathLst>
            </a:custGeom>
            <a:solidFill>
              <a:srgbClr val="FFF4CD"/>
            </a:solidFill>
          </p:spPr>
          <p:txBody>
            <a:bodyPr wrap="square" lIns="0" tIns="0" rIns="0" bIns="0" rtlCol="0"/>
            <a:lstStyle/>
            <a:p>
              <a:endParaRPr/>
            </a:p>
          </p:txBody>
        </p:sp>
        <p:sp>
          <p:nvSpPr>
            <p:cNvPr id="37" name="object 25">
              <a:extLst>
                <a:ext uri="{FF2B5EF4-FFF2-40B4-BE49-F238E27FC236}">
                  <a16:creationId xmlns:a16="http://schemas.microsoft.com/office/drawing/2014/main" id="{6888F95B-ACF6-C492-828B-EE754ACA7129}"/>
                </a:ext>
              </a:extLst>
            </p:cNvPr>
            <p:cNvSpPr/>
            <p:nvPr/>
          </p:nvSpPr>
          <p:spPr>
            <a:xfrm>
              <a:off x="7530083" y="1941576"/>
              <a:ext cx="1172210" cy="1087120"/>
            </a:xfrm>
            <a:custGeom>
              <a:avLst/>
              <a:gdLst/>
              <a:ahLst/>
              <a:cxnLst/>
              <a:rect l="l" t="t" r="r" b="b"/>
              <a:pathLst>
                <a:path w="1172209" h="1087120">
                  <a:moveTo>
                    <a:pt x="3048" y="1071371"/>
                  </a:moveTo>
                  <a:lnTo>
                    <a:pt x="0" y="1075943"/>
                  </a:lnTo>
                  <a:lnTo>
                    <a:pt x="0" y="1080515"/>
                  </a:lnTo>
                  <a:lnTo>
                    <a:pt x="6096" y="1086611"/>
                  </a:lnTo>
                  <a:lnTo>
                    <a:pt x="10668" y="1086611"/>
                  </a:lnTo>
                  <a:lnTo>
                    <a:pt x="13716" y="1083563"/>
                  </a:lnTo>
                  <a:lnTo>
                    <a:pt x="15550" y="1082039"/>
                  </a:lnTo>
                  <a:lnTo>
                    <a:pt x="15240" y="1082039"/>
                  </a:lnTo>
                  <a:lnTo>
                    <a:pt x="3048" y="1071371"/>
                  </a:lnTo>
                  <a:close/>
                </a:path>
                <a:path w="1172209" h="1087120">
                  <a:moveTo>
                    <a:pt x="62534" y="1021799"/>
                  </a:moveTo>
                  <a:lnTo>
                    <a:pt x="3048" y="1071371"/>
                  </a:lnTo>
                  <a:lnTo>
                    <a:pt x="15240" y="1082039"/>
                  </a:lnTo>
                  <a:lnTo>
                    <a:pt x="62534" y="1021799"/>
                  </a:lnTo>
                  <a:close/>
                </a:path>
                <a:path w="1172209" h="1087120">
                  <a:moveTo>
                    <a:pt x="1127759" y="15239"/>
                  </a:moveTo>
                  <a:lnTo>
                    <a:pt x="1074419" y="15239"/>
                  </a:lnTo>
                  <a:lnTo>
                    <a:pt x="1082039" y="16763"/>
                  </a:lnTo>
                  <a:lnTo>
                    <a:pt x="1091183" y="18287"/>
                  </a:lnTo>
                  <a:lnTo>
                    <a:pt x="1098803" y="19812"/>
                  </a:lnTo>
                  <a:lnTo>
                    <a:pt x="1132331" y="39624"/>
                  </a:lnTo>
                  <a:lnTo>
                    <a:pt x="1152143" y="73151"/>
                  </a:lnTo>
                  <a:lnTo>
                    <a:pt x="1155191" y="89915"/>
                  </a:lnTo>
                  <a:lnTo>
                    <a:pt x="1155191" y="464819"/>
                  </a:lnTo>
                  <a:lnTo>
                    <a:pt x="1153667" y="472439"/>
                  </a:lnTo>
                  <a:lnTo>
                    <a:pt x="1150619" y="480059"/>
                  </a:lnTo>
                  <a:lnTo>
                    <a:pt x="1149095" y="487679"/>
                  </a:lnTo>
                  <a:lnTo>
                    <a:pt x="1144523" y="493775"/>
                  </a:lnTo>
                  <a:lnTo>
                    <a:pt x="1141475" y="501395"/>
                  </a:lnTo>
                  <a:lnTo>
                    <a:pt x="1136903" y="507491"/>
                  </a:lnTo>
                  <a:lnTo>
                    <a:pt x="1130807" y="513587"/>
                  </a:lnTo>
                  <a:lnTo>
                    <a:pt x="1112519" y="527303"/>
                  </a:lnTo>
                  <a:lnTo>
                    <a:pt x="1097279" y="533399"/>
                  </a:lnTo>
                  <a:lnTo>
                    <a:pt x="1082039" y="536447"/>
                  </a:lnTo>
                  <a:lnTo>
                    <a:pt x="646175" y="536447"/>
                  </a:lnTo>
                  <a:lnTo>
                    <a:pt x="643127" y="537971"/>
                  </a:lnTo>
                  <a:lnTo>
                    <a:pt x="62534" y="1021799"/>
                  </a:lnTo>
                  <a:lnTo>
                    <a:pt x="15240" y="1082039"/>
                  </a:lnTo>
                  <a:lnTo>
                    <a:pt x="15550" y="1082039"/>
                  </a:lnTo>
                  <a:lnTo>
                    <a:pt x="651961" y="553211"/>
                  </a:lnTo>
                  <a:lnTo>
                    <a:pt x="647699" y="553211"/>
                  </a:lnTo>
                  <a:lnTo>
                    <a:pt x="653795" y="551687"/>
                  </a:lnTo>
                  <a:lnTo>
                    <a:pt x="1094231" y="551687"/>
                  </a:lnTo>
                  <a:lnTo>
                    <a:pt x="1112519" y="545591"/>
                  </a:lnTo>
                  <a:lnTo>
                    <a:pt x="1149095" y="516635"/>
                  </a:lnTo>
                  <a:lnTo>
                    <a:pt x="1155191" y="510539"/>
                  </a:lnTo>
                  <a:lnTo>
                    <a:pt x="1159763" y="501395"/>
                  </a:lnTo>
                  <a:lnTo>
                    <a:pt x="1164335" y="493775"/>
                  </a:lnTo>
                  <a:lnTo>
                    <a:pt x="1167383" y="484631"/>
                  </a:lnTo>
                  <a:lnTo>
                    <a:pt x="1170431" y="473963"/>
                  </a:lnTo>
                  <a:lnTo>
                    <a:pt x="1171955" y="464819"/>
                  </a:lnTo>
                  <a:lnTo>
                    <a:pt x="1171955" y="97535"/>
                  </a:lnTo>
                  <a:lnTo>
                    <a:pt x="1170431" y="86867"/>
                  </a:lnTo>
                  <a:lnTo>
                    <a:pt x="1170431" y="77723"/>
                  </a:lnTo>
                  <a:lnTo>
                    <a:pt x="1155191" y="42672"/>
                  </a:lnTo>
                  <a:lnTo>
                    <a:pt x="1142999" y="27431"/>
                  </a:lnTo>
                  <a:lnTo>
                    <a:pt x="1127759" y="15239"/>
                  </a:lnTo>
                  <a:close/>
                </a:path>
                <a:path w="1172209" h="1087120">
                  <a:moveTo>
                    <a:pt x="420623" y="539495"/>
                  </a:moveTo>
                  <a:lnTo>
                    <a:pt x="3048" y="1071371"/>
                  </a:lnTo>
                  <a:lnTo>
                    <a:pt x="62534" y="1021799"/>
                  </a:lnTo>
                  <a:lnTo>
                    <a:pt x="430423" y="553211"/>
                  </a:lnTo>
                  <a:lnTo>
                    <a:pt x="426719" y="553211"/>
                  </a:lnTo>
                  <a:lnTo>
                    <a:pt x="420623" y="539495"/>
                  </a:lnTo>
                  <a:close/>
                </a:path>
                <a:path w="1172209" h="1087120">
                  <a:moveTo>
                    <a:pt x="1083563" y="0"/>
                  </a:moveTo>
                  <a:lnTo>
                    <a:pt x="358139" y="0"/>
                  </a:lnTo>
                  <a:lnTo>
                    <a:pt x="339851" y="3048"/>
                  </a:lnTo>
                  <a:lnTo>
                    <a:pt x="330707" y="7619"/>
                  </a:lnTo>
                  <a:lnTo>
                    <a:pt x="321563" y="10667"/>
                  </a:lnTo>
                  <a:lnTo>
                    <a:pt x="313943" y="16763"/>
                  </a:lnTo>
                  <a:lnTo>
                    <a:pt x="306323" y="21336"/>
                  </a:lnTo>
                  <a:lnTo>
                    <a:pt x="292607" y="35051"/>
                  </a:lnTo>
                  <a:lnTo>
                    <a:pt x="288035" y="42672"/>
                  </a:lnTo>
                  <a:lnTo>
                    <a:pt x="281939" y="50291"/>
                  </a:lnTo>
                  <a:lnTo>
                    <a:pt x="272795" y="77723"/>
                  </a:lnTo>
                  <a:lnTo>
                    <a:pt x="271271" y="88391"/>
                  </a:lnTo>
                  <a:lnTo>
                    <a:pt x="271271" y="466343"/>
                  </a:lnTo>
                  <a:lnTo>
                    <a:pt x="283463" y="502919"/>
                  </a:lnTo>
                  <a:lnTo>
                    <a:pt x="300227" y="524255"/>
                  </a:lnTo>
                  <a:lnTo>
                    <a:pt x="306323" y="531875"/>
                  </a:lnTo>
                  <a:lnTo>
                    <a:pt x="313943" y="536447"/>
                  </a:lnTo>
                  <a:lnTo>
                    <a:pt x="323087" y="541019"/>
                  </a:lnTo>
                  <a:lnTo>
                    <a:pt x="330707" y="545591"/>
                  </a:lnTo>
                  <a:lnTo>
                    <a:pt x="348995" y="551687"/>
                  </a:lnTo>
                  <a:lnTo>
                    <a:pt x="359663" y="553211"/>
                  </a:lnTo>
                  <a:lnTo>
                    <a:pt x="409855" y="553211"/>
                  </a:lnTo>
                  <a:lnTo>
                    <a:pt x="420623" y="539495"/>
                  </a:lnTo>
                  <a:lnTo>
                    <a:pt x="433577" y="539495"/>
                  </a:lnTo>
                  <a:lnTo>
                    <a:pt x="432815" y="537971"/>
                  </a:lnTo>
                  <a:lnTo>
                    <a:pt x="429767" y="536447"/>
                  </a:lnTo>
                  <a:lnTo>
                    <a:pt x="359663" y="536447"/>
                  </a:lnTo>
                  <a:lnTo>
                    <a:pt x="344423" y="533399"/>
                  </a:lnTo>
                  <a:lnTo>
                    <a:pt x="329183" y="527303"/>
                  </a:lnTo>
                  <a:lnTo>
                    <a:pt x="316991" y="518159"/>
                  </a:lnTo>
                  <a:lnTo>
                    <a:pt x="306323" y="507491"/>
                  </a:lnTo>
                  <a:lnTo>
                    <a:pt x="301751" y="499871"/>
                  </a:lnTo>
                  <a:lnTo>
                    <a:pt x="297179" y="493775"/>
                  </a:lnTo>
                  <a:lnTo>
                    <a:pt x="291083" y="478535"/>
                  </a:lnTo>
                  <a:lnTo>
                    <a:pt x="288035" y="463295"/>
                  </a:lnTo>
                  <a:lnTo>
                    <a:pt x="288035" y="88391"/>
                  </a:lnTo>
                  <a:lnTo>
                    <a:pt x="306323" y="45719"/>
                  </a:lnTo>
                  <a:lnTo>
                    <a:pt x="338327" y="22860"/>
                  </a:lnTo>
                  <a:lnTo>
                    <a:pt x="344423" y="19812"/>
                  </a:lnTo>
                  <a:lnTo>
                    <a:pt x="353567" y="16763"/>
                  </a:lnTo>
                  <a:lnTo>
                    <a:pt x="361187" y="16763"/>
                  </a:lnTo>
                  <a:lnTo>
                    <a:pt x="368807" y="15239"/>
                  </a:lnTo>
                  <a:lnTo>
                    <a:pt x="1127759" y="15239"/>
                  </a:lnTo>
                  <a:lnTo>
                    <a:pt x="1120139" y="10667"/>
                  </a:lnTo>
                  <a:lnTo>
                    <a:pt x="1110995" y="6096"/>
                  </a:lnTo>
                  <a:lnTo>
                    <a:pt x="1101851" y="3048"/>
                  </a:lnTo>
                  <a:lnTo>
                    <a:pt x="1083563" y="0"/>
                  </a:lnTo>
                  <a:close/>
                </a:path>
                <a:path w="1172209" h="1087120">
                  <a:moveTo>
                    <a:pt x="433577" y="539495"/>
                  </a:moveTo>
                  <a:lnTo>
                    <a:pt x="420623" y="539495"/>
                  </a:lnTo>
                  <a:lnTo>
                    <a:pt x="426719" y="553211"/>
                  </a:lnTo>
                  <a:lnTo>
                    <a:pt x="430423" y="553211"/>
                  </a:lnTo>
                  <a:lnTo>
                    <a:pt x="432815" y="550163"/>
                  </a:lnTo>
                  <a:lnTo>
                    <a:pt x="435863" y="547115"/>
                  </a:lnTo>
                  <a:lnTo>
                    <a:pt x="435863" y="544067"/>
                  </a:lnTo>
                  <a:lnTo>
                    <a:pt x="433577" y="539495"/>
                  </a:lnTo>
                  <a:close/>
                </a:path>
                <a:path w="1172209" h="1087120">
                  <a:moveTo>
                    <a:pt x="653795" y="551687"/>
                  </a:moveTo>
                  <a:lnTo>
                    <a:pt x="647699" y="553211"/>
                  </a:lnTo>
                  <a:lnTo>
                    <a:pt x="651961" y="553211"/>
                  </a:lnTo>
                  <a:lnTo>
                    <a:pt x="653795" y="551687"/>
                  </a:lnTo>
                  <a:close/>
                </a:path>
                <a:path w="1172209" h="1087120">
                  <a:moveTo>
                    <a:pt x="1094231" y="551687"/>
                  </a:moveTo>
                  <a:lnTo>
                    <a:pt x="653795" y="551687"/>
                  </a:lnTo>
                  <a:lnTo>
                    <a:pt x="651961" y="553211"/>
                  </a:lnTo>
                  <a:lnTo>
                    <a:pt x="1083563" y="553211"/>
                  </a:lnTo>
                  <a:lnTo>
                    <a:pt x="1094231" y="551687"/>
                  </a:lnTo>
                  <a:close/>
                </a:path>
              </a:pathLst>
            </a:custGeom>
            <a:solidFill>
              <a:srgbClr val="BC9303"/>
            </a:solidFill>
          </p:spPr>
          <p:txBody>
            <a:bodyPr wrap="square" lIns="0" tIns="0" rIns="0" bIns="0" rtlCol="0"/>
            <a:lstStyle/>
            <a:p>
              <a:endParaRPr/>
            </a:p>
          </p:txBody>
        </p:sp>
      </p:grpSp>
      <p:sp>
        <p:nvSpPr>
          <p:cNvPr id="38" name="object 26">
            <a:extLst>
              <a:ext uri="{FF2B5EF4-FFF2-40B4-BE49-F238E27FC236}">
                <a16:creationId xmlns:a16="http://schemas.microsoft.com/office/drawing/2014/main" id="{10160BF2-80BB-89AD-F6AB-4A0548586F00}"/>
              </a:ext>
            </a:extLst>
          </p:cNvPr>
          <p:cNvSpPr txBox="1"/>
          <p:nvPr/>
        </p:nvSpPr>
        <p:spPr>
          <a:xfrm>
            <a:off x="7320952" y="1458718"/>
            <a:ext cx="563880" cy="398145"/>
          </a:xfrm>
          <a:prstGeom prst="rect">
            <a:avLst/>
          </a:prstGeom>
        </p:spPr>
        <p:txBody>
          <a:bodyPr vert="horz" wrap="square" lIns="0" tIns="12700" rIns="0" bIns="0" rtlCol="0">
            <a:spAutoFit/>
          </a:bodyPr>
          <a:lstStyle/>
          <a:p>
            <a:pPr marL="12700" marR="5080" indent="115570">
              <a:lnSpc>
                <a:spcPct val="101699"/>
              </a:lnSpc>
              <a:spcBef>
                <a:spcPts val="100"/>
              </a:spcBef>
            </a:pPr>
            <a:r>
              <a:rPr sz="1200" b="1" spc="5" dirty="0">
                <a:solidFill>
                  <a:srgbClr val="CD8C3D"/>
                </a:solidFill>
                <a:latin typeface="Corbel"/>
                <a:cs typeface="Corbel"/>
              </a:rPr>
              <a:t>Fase </a:t>
            </a:r>
            <a:r>
              <a:rPr sz="1200" b="1" spc="10" dirty="0">
                <a:solidFill>
                  <a:srgbClr val="CD8C3D"/>
                </a:solidFill>
                <a:latin typeface="Corbel"/>
                <a:cs typeface="Corbel"/>
              </a:rPr>
              <a:t> </a:t>
            </a:r>
            <a:r>
              <a:rPr sz="1200" b="1" dirty="0">
                <a:solidFill>
                  <a:srgbClr val="CD8C3D"/>
                </a:solidFill>
                <a:latin typeface="Corbel"/>
                <a:cs typeface="Corbel"/>
              </a:rPr>
              <a:t>i</a:t>
            </a:r>
            <a:r>
              <a:rPr sz="1200" b="1" spc="10" dirty="0">
                <a:solidFill>
                  <a:srgbClr val="CD8C3D"/>
                </a:solidFill>
                <a:latin typeface="Corbel"/>
                <a:cs typeface="Corbel"/>
              </a:rPr>
              <a:t>d</a:t>
            </a:r>
            <a:r>
              <a:rPr sz="1200" b="1" spc="5" dirty="0">
                <a:solidFill>
                  <a:srgbClr val="CD8C3D"/>
                </a:solidFill>
                <a:latin typeface="Corbel"/>
                <a:cs typeface="Corbel"/>
              </a:rPr>
              <a:t>e</a:t>
            </a:r>
            <a:r>
              <a:rPr sz="1200" b="1" spc="10" dirty="0">
                <a:solidFill>
                  <a:srgbClr val="CD8C3D"/>
                </a:solidFill>
                <a:latin typeface="Corbel"/>
                <a:cs typeface="Corbel"/>
              </a:rPr>
              <a:t>at</a:t>
            </a:r>
            <a:r>
              <a:rPr sz="1200" b="1" dirty="0">
                <a:solidFill>
                  <a:srgbClr val="CD8C3D"/>
                </a:solidFill>
                <a:latin typeface="Corbel"/>
                <a:cs typeface="Corbel"/>
              </a:rPr>
              <a:t>iv</a:t>
            </a:r>
            <a:r>
              <a:rPr sz="1200" b="1" spc="10" dirty="0">
                <a:solidFill>
                  <a:srgbClr val="CD8C3D"/>
                </a:solidFill>
                <a:latin typeface="Corbel"/>
                <a:cs typeface="Corbel"/>
              </a:rPr>
              <a:t>a</a:t>
            </a:r>
            <a:endParaRPr sz="1200">
              <a:latin typeface="Corbel"/>
              <a:cs typeface="Corbel"/>
            </a:endParaRPr>
          </a:p>
        </p:txBody>
      </p:sp>
      <p:grpSp>
        <p:nvGrpSpPr>
          <p:cNvPr id="39" name="object 27">
            <a:extLst>
              <a:ext uri="{FF2B5EF4-FFF2-40B4-BE49-F238E27FC236}">
                <a16:creationId xmlns:a16="http://schemas.microsoft.com/office/drawing/2014/main" id="{146CE827-846B-6000-5B5B-7782948922E3}"/>
              </a:ext>
            </a:extLst>
          </p:cNvPr>
          <p:cNvGrpSpPr/>
          <p:nvPr/>
        </p:nvGrpSpPr>
        <p:grpSpPr>
          <a:xfrm>
            <a:off x="1029335" y="1392155"/>
            <a:ext cx="1367155" cy="553720"/>
            <a:chOff x="1676400" y="1941576"/>
            <a:chExt cx="1367155" cy="553720"/>
          </a:xfrm>
        </p:grpSpPr>
        <p:sp>
          <p:nvSpPr>
            <p:cNvPr id="40" name="object 28">
              <a:extLst>
                <a:ext uri="{FF2B5EF4-FFF2-40B4-BE49-F238E27FC236}">
                  <a16:creationId xmlns:a16="http://schemas.microsoft.com/office/drawing/2014/main" id="{81B2A9E4-E50E-927F-0C6E-9D1C23B586B5}"/>
                </a:ext>
              </a:extLst>
            </p:cNvPr>
            <p:cNvSpPr/>
            <p:nvPr/>
          </p:nvSpPr>
          <p:spPr>
            <a:xfrm>
              <a:off x="1684020" y="1949196"/>
              <a:ext cx="1350645" cy="538480"/>
            </a:xfrm>
            <a:custGeom>
              <a:avLst/>
              <a:gdLst/>
              <a:ahLst/>
              <a:cxnLst/>
              <a:rect l="l" t="t" r="r" b="b"/>
              <a:pathLst>
                <a:path w="1350645" h="538480">
                  <a:moveTo>
                    <a:pt x="920495" y="0"/>
                  </a:moveTo>
                  <a:lnTo>
                    <a:pt x="89915" y="0"/>
                  </a:lnTo>
                  <a:lnTo>
                    <a:pt x="54649" y="6977"/>
                  </a:lnTo>
                  <a:lnTo>
                    <a:pt x="26098" y="26098"/>
                  </a:lnTo>
                  <a:lnTo>
                    <a:pt x="6977" y="54649"/>
                  </a:lnTo>
                  <a:lnTo>
                    <a:pt x="0" y="89915"/>
                  </a:lnTo>
                  <a:lnTo>
                    <a:pt x="0" y="448055"/>
                  </a:lnTo>
                  <a:lnTo>
                    <a:pt x="6977" y="482679"/>
                  </a:lnTo>
                  <a:lnTo>
                    <a:pt x="26098" y="511301"/>
                  </a:lnTo>
                  <a:lnTo>
                    <a:pt x="54649" y="530780"/>
                  </a:lnTo>
                  <a:lnTo>
                    <a:pt x="89915" y="537971"/>
                  </a:lnTo>
                  <a:lnTo>
                    <a:pt x="920495" y="537971"/>
                  </a:lnTo>
                  <a:lnTo>
                    <a:pt x="955762" y="530780"/>
                  </a:lnTo>
                  <a:lnTo>
                    <a:pt x="984313" y="511301"/>
                  </a:lnTo>
                  <a:lnTo>
                    <a:pt x="1003434" y="482679"/>
                  </a:lnTo>
                  <a:lnTo>
                    <a:pt x="1010411" y="448055"/>
                  </a:lnTo>
                  <a:lnTo>
                    <a:pt x="1350263" y="443483"/>
                  </a:lnTo>
                  <a:lnTo>
                    <a:pt x="1010411" y="313943"/>
                  </a:lnTo>
                  <a:lnTo>
                    <a:pt x="1010411" y="89915"/>
                  </a:lnTo>
                  <a:lnTo>
                    <a:pt x="1003434" y="54649"/>
                  </a:lnTo>
                  <a:lnTo>
                    <a:pt x="984313" y="26098"/>
                  </a:lnTo>
                  <a:lnTo>
                    <a:pt x="955762" y="6977"/>
                  </a:lnTo>
                  <a:lnTo>
                    <a:pt x="920495" y="0"/>
                  </a:lnTo>
                  <a:close/>
                </a:path>
              </a:pathLst>
            </a:custGeom>
            <a:solidFill>
              <a:srgbClr val="FFF4CD"/>
            </a:solidFill>
          </p:spPr>
          <p:txBody>
            <a:bodyPr wrap="square" lIns="0" tIns="0" rIns="0" bIns="0" rtlCol="0"/>
            <a:lstStyle/>
            <a:p>
              <a:endParaRPr/>
            </a:p>
          </p:txBody>
        </p:sp>
        <p:sp>
          <p:nvSpPr>
            <p:cNvPr id="41" name="object 29">
              <a:extLst>
                <a:ext uri="{FF2B5EF4-FFF2-40B4-BE49-F238E27FC236}">
                  <a16:creationId xmlns:a16="http://schemas.microsoft.com/office/drawing/2014/main" id="{CD0DFF0F-7F2E-C215-7460-D37120958D39}"/>
                </a:ext>
              </a:extLst>
            </p:cNvPr>
            <p:cNvSpPr/>
            <p:nvPr/>
          </p:nvSpPr>
          <p:spPr>
            <a:xfrm>
              <a:off x="1676400" y="1941576"/>
              <a:ext cx="1367155" cy="553720"/>
            </a:xfrm>
            <a:custGeom>
              <a:avLst/>
              <a:gdLst/>
              <a:ahLst/>
              <a:cxnLst/>
              <a:rect l="l" t="t" r="r" b="b"/>
              <a:pathLst>
                <a:path w="1367155" h="553719">
                  <a:moveTo>
                    <a:pt x="938783" y="0"/>
                  </a:moveTo>
                  <a:lnTo>
                    <a:pt x="86868" y="0"/>
                  </a:lnTo>
                  <a:lnTo>
                    <a:pt x="77724" y="1524"/>
                  </a:lnTo>
                  <a:lnTo>
                    <a:pt x="67056" y="3048"/>
                  </a:lnTo>
                  <a:lnTo>
                    <a:pt x="59435" y="7619"/>
                  </a:lnTo>
                  <a:lnTo>
                    <a:pt x="50291" y="10667"/>
                  </a:lnTo>
                  <a:lnTo>
                    <a:pt x="42671" y="16763"/>
                  </a:lnTo>
                  <a:lnTo>
                    <a:pt x="10668" y="50291"/>
                  </a:lnTo>
                  <a:lnTo>
                    <a:pt x="7619" y="59435"/>
                  </a:lnTo>
                  <a:lnTo>
                    <a:pt x="3047" y="68579"/>
                  </a:lnTo>
                  <a:lnTo>
                    <a:pt x="1524" y="77723"/>
                  </a:lnTo>
                  <a:lnTo>
                    <a:pt x="0" y="88391"/>
                  </a:lnTo>
                  <a:lnTo>
                    <a:pt x="0" y="466343"/>
                  </a:lnTo>
                  <a:lnTo>
                    <a:pt x="1524" y="475487"/>
                  </a:lnTo>
                  <a:lnTo>
                    <a:pt x="10668" y="502919"/>
                  </a:lnTo>
                  <a:lnTo>
                    <a:pt x="16763" y="510539"/>
                  </a:lnTo>
                  <a:lnTo>
                    <a:pt x="21335" y="518159"/>
                  </a:lnTo>
                  <a:lnTo>
                    <a:pt x="28956" y="524255"/>
                  </a:lnTo>
                  <a:lnTo>
                    <a:pt x="35051" y="531875"/>
                  </a:lnTo>
                  <a:lnTo>
                    <a:pt x="50291" y="541019"/>
                  </a:lnTo>
                  <a:lnTo>
                    <a:pt x="59435" y="545591"/>
                  </a:lnTo>
                  <a:lnTo>
                    <a:pt x="77724" y="551687"/>
                  </a:lnTo>
                  <a:lnTo>
                    <a:pt x="88391" y="553211"/>
                  </a:lnTo>
                  <a:lnTo>
                    <a:pt x="938783" y="553211"/>
                  </a:lnTo>
                  <a:lnTo>
                    <a:pt x="947927" y="551687"/>
                  </a:lnTo>
                  <a:lnTo>
                    <a:pt x="958595" y="548639"/>
                  </a:lnTo>
                  <a:lnTo>
                    <a:pt x="967739" y="545591"/>
                  </a:lnTo>
                  <a:lnTo>
                    <a:pt x="982979" y="536447"/>
                  </a:lnTo>
                  <a:lnTo>
                    <a:pt x="88391" y="536447"/>
                  </a:lnTo>
                  <a:lnTo>
                    <a:pt x="73151" y="533399"/>
                  </a:lnTo>
                  <a:lnTo>
                    <a:pt x="35051" y="507491"/>
                  </a:lnTo>
                  <a:lnTo>
                    <a:pt x="15239" y="455675"/>
                  </a:lnTo>
                  <a:lnTo>
                    <a:pt x="16677" y="329183"/>
                  </a:lnTo>
                  <a:lnTo>
                    <a:pt x="16763" y="88391"/>
                  </a:lnTo>
                  <a:lnTo>
                    <a:pt x="19812" y="73151"/>
                  </a:lnTo>
                  <a:lnTo>
                    <a:pt x="25907" y="57911"/>
                  </a:lnTo>
                  <a:lnTo>
                    <a:pt x="39624" y="39624"/>
                  </a:lnTo>
                  <a:lnTo>
                    <a:pt x="45719" y="35051"/>
                  </a:lnTo>
                  <a:lnTo>
                    <a:pt x="51815" y="28955"/>
                  </a:lnTo>
                  <a:lnTo>
                    <a:pt x="59435" y="25907"/>
                  </a:lnTo>
                  <a:lnTo>
                    <a:pt x="65531" y="22860"/>
                  </a:lnTo>
                  <a:lnTo>
                    <a:pt x="80771" y="16763"/>
                  </a:lnTo>
                  <a:lnTo>
                    <a:pt x="89915" y="16763"/>
                  </a:lnTo>
                  <a:lnTo>
                    <a:pt x="97535" y="15239"/>
                  </a:lnTo>
                  <a:lnTo>
                    <a:pt x="982979" y="15239"/>
                  </a:lnTo>
                  <a:lnTo>
                    <a:pt x="975359" y="10667"/>
                  </a:lnTo>
                  <a:lnTo>
                    <a:pt x="966215" y="6096"/>
                  </a:lnTo>
                  <a:lnTo>
                    <a:pt x="957071" y="3048"/>
                  </a:lnTo>
                  <a:lnTo>
                    <a:pt x="938783" y="0"/>
                  </a:lnTo>
                  <a:close/>
                </a:path>
                <a:path w="1367155" h="553719">
                  <a:moveTo>
                    <a:pt x="1315842" y="443861"/>
                  </a:moveTo>
                  <a:lnTo>
                    <a:pt x="1018031" y="446531"/>
                  </a:lnTo>
                  <a:lnTo>
                    <a:pt x="1013459" y="446531"/>
                  </a:lnTo>
                  <a:lnTo>
                    <a:pt x="1010411" y="451103"/>
                  </a:lnTo>
                  <a:lnTo>
                    <a:pt x="1010411" y="455675"/>
                  </a:lnTo>
                  <a:lnTo>
                    <a:pt x="1008887" y="464819"/>
                  </a:lnTo>
                  <a:lnTo>
                    <a:pt x="995171" y="501395"/>
                  </a:lnTo>
                  <a:lnTo>
                    <a:pt x="966215" y="527303"/>
                  </a:lnTo>
                  <a:lnTo>
                    <a:pt x="935735" y="536447"/>
                  </a:lnTo>
                  <a:lnTo>
                    <a:pt x="982979" y="536447"/>
                  </a:lnTo>
                  <a:lnTo>
                    <a:pt x="998219" y="524255"/>
                  </a:lnTo>
                  <a:lnTo>
                    <a:pt x="1004315" y="516635"/>
                  </a:lnTo>
                  <a:lnTo>
                    <a:pt x="1010411" y="510539"/>
                  </a:lnTo>
                  <a:lnTo>
                    <a:pt x="1014983" y="501395"/>
                  </a:lnTo>
                  <a:lnTo>
                    <a:pt x="1019555" y="493775"/>
                  </a:lnTo>
                  <a:lnTo>
                    <a:pt x="1022603" y="484631"/>
                  </a:lnTo>
                  <a:lnTo>
                    <a:pt x="1024127" y="473963"/>
                  </a:lnTo>
                  <a:lnTo>
                    <a:pt x="1025651" y="464819"/>
                  </a:lnTo>
                  <a:lnTo>
                    <a:pt x="1025651" y="463295"/>
                  </a:lnTo>
                  <a:lnTo>
                    <a:pt x="1018031" y="463295"/>
                  </a:lnTo>
                  <a:lnTo>
                    <a:pt x="1025651" y="455675"/>
                  </a:lnTo>
                  <a:lnTo>
                    <a:pt x="1346839" y="455675"/>
                  </a:lnTo>
                  <a:lnTo>
                    <a:pt x="1315842" y="443861"/>
                  </a:lnTo>
                  <a:close/>
                </a:path>
                <a:path w="1367155" h="553719">
                  <a:moveTo>
                    <a:pt x="1025651" y="455675"/>
                  </a:moveTo>
                  <a:lnTo>
                    <a:pt x="1018031" y="463295"/>
                  </a:lnTo>
                  <a:lnTo>
                    <a:pt x="1025651" y="463227"/>
                  </a:lnTo>
                  <a:lnTo>
                    <a:pt x="1025651" y="455675"/>
                  </a:lnTo>
                  <a:close/>
                </a:path>
                <a:path w="1367155" h="553719">
                  <a:moveTo>
                    <a:pt x="1025651" y="463227"/>
                  </a:moveTo>
                  <a:lnTo>
                    <a:pt x="1018031" y="463295"/>
                  </a:lnTo>
                  <a:lnTo>
                    <a:pt x="1025651" y="463295"/>
                  </a:lnTo>
                  <a:close/>
                </a:path>
                <a:path w="1367155" h="553719">
                  <a:moveTo>
                    <a:pt x="1346839" y="455675"/>
                  </a:moveTo>
                  <a:lnTo>
                    <a:pt x="1025651" y="455675"/>
                  </a:lnTo>
                  <a:lnTo>
                    <a:pt x="1025651" y="463227"/>
                  </a:lnTo>
                  <a:lnTo>
                    <a:pt x="1360931" y="460247"/>
                  </a:lnTo>
                  <a:lnTo>
                    <a:pt x="1363217" y="458723"/>
                  </a:lnTo>
                  <a:lnTo>
                    <a:pt x="1354835" y="458723"/>
                  </a:lnTo>
                  <a:lnTo>
                    <a:pt x="1346839" y="455675"/>
                  </a:lnTo>
                  <a:close/>
                </a:path>
                <a:path w="1367155" h="553719">
                  <a:moveTo>
                    <a:pt x="1357883" y="443483"/>
                  </a:moveTo>
                  <a:lnTo>
                    <a:pt x="1315842" y="443861"/>
                  </a:lnTo>
                  <a:lnTo>
                    <a:pt x="1354835" y="458723"/>
                  </a:lnTo>
                  <a:lnTo>
                    <a:pt x="1357883" y="443483"/>
                  </a:lnTo>
                  <a:close/>
                </a:path>
                <a:path w="1367155" h="553719">
                  <a:moveTo>
                    <a:pt x="1360931" y="443483"/>
                  </a:moveTo>
                  <a:lnTo>
                    <a:pt x="1357883" y="443483"/>
                  </a:lnTo>
                  <a:lnTo>
                    <a:pt x="1354835" y="458723"/>
                  </a:lnTo>
                  <a:lnTo>
                    <a:pt x="1363217" y="458723"/>
                  </a:lnTo>
                  <a:lnTo>
                    <a:pt x="1365503" y="457199"/>
                  </a:lnTo>
                  <a:lnTo>
                    <a:pt x="1365503" y="452627"/>
                  </a:lnTo>
                  <a:lnTo>
                    <a:pt x="1367027" y="449579"/>
                  </a:lnTo>
                  <a:lnTo>
                    <a:pt x="1363979" y="445007"/>
                  </a:lnTo>
                  <a:lnTo>
                    <a:pt x="1360931" y="443483"/>
                  </a:lnTo>
                  <a:close/>
                </a:path>
                <a:path w="1367155" h="553719">
                  <a:moveTo>
                    <a:pt x="982979" y="15239"/>
                  </a:moveTo>
                  <a:lnTo>
                    <a:pt x="928115" y="15239"/>
                  </a:lnTo>
                  <a:lnTo>
                    <a:pt x="937259" y="16763"/>
                  </a:lnTo>
                  <a:lnTo>
                    <a:pt x="952499" y="19812"/>
                  </a:lnTo>
                  <a:lnTo>
                    <a:pt x="986027" y="39624"/>
                  </a:lnTo>
                  <a:lnTo>
                    <a:pt x="999743" y="59435"/>
                  </a:lnTo>
                  <a:lnTo>
                    <a:pt x="1002791" y="65531"/>
                  </a:lnTo>
                  <a:lnTo>
                    <a:pt x="1008887" y="80771"/>
                  </a:lnTo>
                  <a:lnTo>
                    <a:pt x="1008887" y="89915"/>
                  </a:lnTo>
                  <a:lnTo>
                    <a:pt x="1010411" y="97535"/>
                  </a:lnTo>
                  <a:lnTo>
                    <a:pt x="1010411" y="324611"/>
                  </a:lnTo>
                  <a:lnTo>
                    <a:pt x="1011935" y="327659"/>
                  </a:lnTo>
                  <a:lnTo>
                    <a:pt x="1014983" y="329183"/>
                  </a:lnTo>
                  <a:lnTo>
                    <a:pt x="1315842" y="443861"/>
                  </a:lnTo>
                  <a:lnTo>
                    <a:pt x="1360931" y="443483"/>
                  </a:lnTo>
                  <a:lnTo>
                    <a:pt x="1041071" y="321563"/>
                  </a:lnTo>
                  <a:lnTo>
                    <a:pt x="1027175" y="321563"/>
                  </a:lnTo>
                  <a:lnTo>
                    <a:pt x="1021079" y="313943"/>
                  </a:lnTo>
                  <a:lnTo>
                    <a:pt x="1027124" y="313943"/>
                  </a:lnTo>
                  <a:lnTo>
                    <a:pt x="1025651" y="97535"/>
                  </a:lnTo>
                  <a:lnTo>
                    <a:pt x="1025651" y="86867"/>
                  </a:lnTo>
                  <a:lnTo>
                    <a:pt x="1024127" y="77723"/>
                  </a:lnTo>
                  <a:lnTo>
                    <a:pt x="1022603" y="67055"/>
                  </a:lnTo>
                  <a:lnTo>
                    <a:pt x="1018031" y="59435"/>
                  </a:lnTo>
                  <a:lnTo>
                    <a:pt x="1014983" y="50291"/>
                  </a:lnTo>
                  <a:lnTo>
                    <a:pt x="1008887" y="42672"/>
                  </a:lnTo>
                  <a:lnTo>
                    <a:pt x="1004315" y="35051"/>
                  </a:lnTo>
                  <a:lnTo>
                    <a:pt x="990599" y="21336"/>
                  </a:lnTo>
                  <a:lnTo>
                    <a:pt x="982979" y="15239"/>
                  </a:lnTo>
                  <a:close/>
                </a:path>
                <a:path w="1367155" h="553719">
                  <a:moveTo>
                    <a:pt x="1021079" y="313943"/>
                  </a:moveTo>
                  <a:lnTo>
                    <a:pt x="1027175" y="321563"/>
                  </a:lnTo>
                  <a:lnTo>
                    <a:pt x="1027139" y="316253"/>
                  </a:lnTo>
                  <a:lnTo>
                    <a:pt x="1021079" y="313943"/>
                  </a:lnTo>
                  <a:close/>
                </a:path>
                <a:path w="1367155" h="553719">
                  <a:moveTo>
                    <a:pt x="1027139" y="316253"/>
                  </a:moveTo>
                  <a:lnTo>
                    <a:pt x="1027175" y="321563"/>
                  </a:lnTo>
                  <a:lnTo>
                    <a:pt x="1041071" y="321563"/>
                  </a:lnTo>
                  <a:lnTo>
                    <a:pt x="1027139" y="316253"/>
                  </a:lnTo>
                  <a:close/>
                </a:path>
                <a:path w="1367155" h="553719">
                  <a:moveTo>
                    <a:pt x="1027124" y="313943"/>
                  </a:moveTo>
                  <a:lnTo>
                    <a:pt x="1021079" y="313943"/>
                  </a:lnTo>
                  <a:lnTo>
                    <a:pt x="1027139" y="316253"/>
                  </a:lnTo>
                  <a:lnTo>
                    <a:pt x="1027124" y="313943"/>
                  </a:lnTo>
                  <a:close/>
                </a:path>
              </a:pathLst>
            </a:custGeom>
            <a:solidFill>
              <a:srgbClr val="BC9303"/>
            </a:solidFill>
          </p:spPr>
          <p:txBody>
            <a:bodyPr wrap="square" lIns="0" tIns="0" rIns="0" bIns="0" rtlCol="0"/>
            <a:lstStyle/>
            <a:p>
              <a:endParaRPr/>
            </a:p>
          </p:txBody>
        </p:sp>
      </p:grpSp>
      <p:sp>
        <p:nvSpPr>
          <p:cNvPr id="42" name="object 30">
            <a:extLst>
              <a:ext uri="{FF2B5EF4-FFF2-40B4-BE49-F238E27FC236}">
                <a16:creationId xmlns:a16="http://schemas.microsoft.com/office/drawing/2014/main" id="{E2FAE329-B5E3-2A09-4B0D-247EA22EC510}"/>
              </a:ext>
            </a:extLst>
          </p:cNvPr>
          <p:cNvSpPr txBox="1"/>
          <p:nvPr/>
        </p:nvSpPr>
        <p:spPr>
          <a:xfrm>
            <a:off x="1234232" y="1458718"/>
            <a:ext cx="612775" cy="398145"/>
          </a:xfrm>
          <a:prstGeom prst="rect">
            <a:avLst/>
          </a:prstGeom>
        </p:spPr>
        <p:txBody>
          <a:bodyPr vert="horz" wrap="square" lIns="0" tIns="12700" rIns="0" bIns="0" rtlCol="0">
            <a:spAutoFit/>
          </a:bodyPr>
          <a:lstStyle/>
          <a:p>
            <a:pPr marL="12700" marR="5080" indent="139700">
              <a:lnSpc>
                <a:spcPct val="101699"/>
              </a:lnSpc>
              <a:spcBef>
                <a:spcPts val="100"/>
              </a:spcBef>
            </a:pPr>
            <a:r>
              <a:rPr sz="1200" b="1" spc="5" dirty="0">
                <a:solidFill>
                  <a:srgbClr val="CD8C3D"/>
                </a:solidFill>
                <a:latin typeface="Corbel"/>
                <a:cs typeface="Corbel"/>
              </a:rPr>
              <a:t>Fase </a:t>
            </a:r>
            <a:r>
              <a:rPr sz="1200" b="1" spc="10" dirty="0">
                <a:solidFill>
                  <a:srgbClr val="CD8C3D"/>
                </a:solidFill>
                <a:latin typeface="Corbel"/>
                <a:cs typeface="Corbel"/>
              </a:rPr>
              <a:t> </a:t>
            </a:r>
            <a:r>
              <a:rPr sz="1200" b="1" spc="5" dirty="0">
                <a:solidFill>
                  <a:srgbClr val="CD8C3D"/>
                </a:solidFill>
                <a:latin typeface="Corbel"/>
                <a:cs typeface="Corbel"/>
              </a:rPr>
              <a:t>r</a:t>
            </a:r>
            <a:r>
              <a:rPr sz="1200" b="1" dirty="0">
                <a:solidFill>
                  <a:srgbClr val="CD8C3D"/>
                </a:solidFill>
                <a:latin typeface="Corbel"/>
                <a:cs typeface="Corbel"/>
              </a:rPr>
              <a:t>if</a:t>
            </a:r>
            <a:r>
              <a:rPr sz="1200" b="1" spc="5" dirty="0">
                <a:solidFill>
                  <a:srgbClr val="CD8C3D"/>
                </a:solidFill>
                <a:latin typeface="Corbel"/>
                <a:cs typeface="Corbel"/>
              </a:rPr>
              <a:t>lessiv</a:t>
            </a:r>
            <a:r>
              <a:rPr sz="1200" b="1" spc="10" dirty="0">
                <a:solidFill>
                  <a:srgbClr val="CD8C3D"/>
                </a:solidFill>
                <a:latin typeface="Corbel"/>
                <a:cs typeface="Corbel"/>
              </a:rPr>
              <a:t>a</a:t>
            </a:r>
            <a:endParaRPr sz="1200">
              <a:latin typeface="Corbel"/>
              <a:cs typeface="Corbel"/>
            </a:endParaRPr>
          </a:p>
        </p:txBody>
      </p:sp>
      <p:grpSp>
        <p:nvGrpSpPr>
          <p:cNvPr id="43" name="object 31">
            <a:extLst>
              <a:ext uri="{FF2B5EF4-FFF2-40B4-BE49-F238E27FC236}">
                <a16:creationId xmlns:a16="http://schemas.microsoft.com/office/drawing/2014/main" id="{9765E5D5-123F-8DD6-8CBA-02EAB171628C}"/>
              </a:ext>
            </a:extLst>
          </p:cNvPr>
          <p:cNvGrpSpPr/>
          <p:nvPr/>
        </p:nvGrpSpPr>
        <p:grpSpPr>
          <a:xfrm>
            <a:off x="965326" y="4348714"/>
            <a:ext cx="1298575" cy="1007744"/>
            <a:chOff x="1612391" y="4898135"/>
            <a:chExt cx="1298575" cy="1007744"/>
          </a:xfrm>
        </p:grpSpPr>
        <p:sp>
          <p:nvSpPr>
            <p:cNvPr id="45" name="object 32">
              <a:extLst>
                <a:ext uri="{FF2B5EF4-FFF2-40B4-BE49-F238E27FC236}">
                  <a16:creationId xmlns:a16="http://schemas.microsoft.com/office/drawing/2014/main" id="{C450A686-C3EB-3371-503D-3C9A448D8B3B}"/>
                </a:ext>
              </a:extLst>
            </p:cNvPr>
            <p:cNvSpPr/>
            <p:nvPr/>
          </p:nvSpPr>
          <p:spPr>
            <a:xfrm>
              <a:off x="1621535" y="4907279"/>
              <a:ext cx="1280160" cy="989330"/>
            </a:xfrm>
            <a:custGeom>
              <a:avLst/>
              <a:gdLst/>
              <a:ahLst/>
              <a:cxnLst/>
              <a:rect l="l" t="t" r="r" b="b"/>
              <a:pathLst>
                <a:path w="1280160" h="989329">
                  <a:moveTo>
                    <a:pt x="982979" y="451103"/>
                  </a:moveTo>
                  <a:lnTo>
                    <a:pt x="88391" y="451103"/>
                  </a:lnTo>
                  <a:lnTo>
                    <a:pt x="54006" y="458295"/>
                  </a:lnTo>
                  <a:lnTo>
                    <a:pt x="25908" y="477773"/>
                  </a:lnTo>
                  <a:lnTo>
                    <a:pt x="6953" y="506396"/>
                  </a:lnTo>
                  <a:lnTo>
                    <a:pt x="0" y="541019"/>
                  </a:lnTo>
                  <a:lnTo>
                    <a:pt x="0" y="899159"/>
                  </a:lnTo>
                  <a:lnTo>
                    <a:pt x="6953" y="934426"/>
                  </a:lnTo>
                  <a:lnTo>
                    <a:pt x="25908" y="962977"/>
                  </a:lnTo>
                  <a:lnTo>
                    <a:pt x="54006" y="982098"/>
                  </a:lnTo>
                  <a:lnTo>
                    <a:pt x="88391" y="989075"/>
                  </a:lnTo>
                  <a:lnTo>
                    <a:pt x="982979" y="989075"/>
                  </a:lnTo>
                  <a:lnTo>
                    <a:pt x="1018246" y="982098"/>
                  </a:lnTo>
                  <a:lnTo>
                    <a:pt x="1046797" y="962977"/>
                  </a:lnTo>
                  <a:lnTo>
                    <a:pt x="1065918" y="934426"/>
                  </a:lnTo>
                  <a:lnTo>
                    <a:pt x="1072895" y="899159"/>
                  </a:lnTo>
                  <a:lnTo>
                    <a:pt x="1072895" y="541019"/>
                  </a:lnTo>
                  <a:lnTo>
                    <a:pt x="1065918" y="506396"/>
                  </a:lnTo>
                  <a:lnTo>
                    <a:pt x="1046797" y="477773"/>
                  </a:lnTo>
                  <a:lnTo>
                    <a:pt x="1018246" y="458295"/>
                  </a:lnTo>
                  <a:lnTo>
                    <a:pt x="982979" y="451103"/>
                  </a:lnTo>
                  <a:close/>
                </a:path>
                <a:path w="1280160" h="989329">
                  <a:moveTo>
                    <a:pt x="1280159" y="0"/>
                  </a:moveTo>
                  <a:lnTo>
                    <a:pt x="624839" y="451103"/>
                  </a:lnTo>
                  <a:lnTo>
                    <a:pt x="894587" y="451103"/>
                  </a:lnTo>
                  <a:lnTo>
                    <a:pt x="1280159" y="0"/>
                  </a:lnTo>
                  <a:close/>
                </a:path>
              </a:pathLst>
            </a:custGeom>
            <a:solidFill>
              <a:srgbClr val="FFF4CD"/>
            </a:solidFill>
          </p:spPr>
          <p:txBody>
            <a:bodyPr wrap="square" lIns="0" tIns="0" rIns="0" bIns="0" rtlCol="0"/>
            <a:lstStyle/>
            <a:p>
              <a:endParaRPr/>
            </a:p>
          </p:txBody>
        </p:sp>
        <p:sp>
          <p:nvSpPr>
            <p:cNvPr id="46" name="object 33">
              <a:extLst>
                <a:ext uri="{FF2B5EF4-FFF2-40B4-BE49-F238E27FC236}">
                  <a16:creationId xmlns:a16="http://schemas.microsoft.com/office/drawing/2014/main" id="{66CCEB9D-E5FF-899A-1918-18C977D5589D}"/>
                </a:ext>
              </a:extLst>
            </p:cNvPr>
            <p:cNvSpPr/>
            <p:nvPr/>
          </p:nvSpPr>
          <p:spPr>
            <a:xfrm>
              <a:off x="1612391" y="4898135"/>
              <a:ext cx="1298575" cy="1007744"/>
            </a:xfrm>
            <a:custGeom>
              <a:avLst/>
              <a:gdLst/>
              <a:ahLst/>
              <a:cxnLst/>
              <a:rect l="l" t="t" r="r" b="b"/>
              <a:pathLst>
                <a:path w="1298575" h="1007745">
                  <a:moveTo>
                    <a:pt x="631618" y="452627"/>
                  </a:moveTo>
                  <a:lnTo>
                    <a:pt x="88391" y="452627"/>
                  </a:lnTo>
                  <a:lnTo>
                    <a:pt x="77723" y="454151"/>
                  </a:lnTo>
                  <a:lnTo>
                    <a:pt x="42671" y="469391"/>
                  </a:lnTo>
                  <a:lnTo>
                    <a:pt x="12191" y="504443"/>
                  </a:lnTo>
                  <a:lnTo>
                    <a:pt x="0" y="541019"/>
                  </a:lnTo>
                  <a:lnTo>
                    <a:pt x="0" y="918971"/>
                  </a:lnTo>
                  <a:lnTo>
                    <a:pt x="16764" y="963167"/>
                  </a:lnTo>
                  <a:lnTo>
                    <a:pt x="44196" y="990599"/>
                  </a:lnTo>
                  <a:lnTo>
                    <a:pt x="97535" y="1007363"/>
                  </a:lnTo>
                  <a:lnTo>
                    <a:pt x="993647" y="1007363"/>
                  </a:lnTo>
                  <a:lnTo>
                    <a:pt x="1011935" y="1004315"/>
                  </a:lnTo>
                  <a:lnTo>
                    <a:pt x="1022603" y="1002791"/>
                  </a:lnTo>
                  <a:lnTo>
                    <a:pt x="1031747" y="998219"/>
                  </a:lnTo>
                  <a:lnTo>
                    <a:pt x="1039367" y="995171"/>
                  </a:lnTo>
                  <a:lnTo>
                    <a:pt x="1045082" y="990599"/>
                  </a:lnTo>
                  <a:lnTo>
                    <a:pt x="97535" y="990599"/>
                  </a:lnTo>
                  <a:lnTo>
                    <a:pt x="89915" y="989075"/>
                  </a:lnTo>
                  <a:lnTo>
                    <a:pt x="80772" y="987551"/>
                  </a:lnTo>
                  <a:lnTo>
                    <a:pt x="39623" y="966215"/>
                  </a:lnTo>
                  <a:lnTo>
                    <a:pt x="19811" y="932687"/>
                  </a:lnTo>
                  <a:lnTo>
                    <a:pt x="16764" y="915923"/>
                  </a:lnTo>
                  <a:lnTo>
                    <a:pt x="16764" y="542543"/>
                  </a:lnTo>
                  <a:lnTo>
                    <a:pt x="18288" y="533399"/>
                  </a:lnTo>
                  <a:lnTo>
                    <a:pt x="21335" y="525779"/>
                  </a:lnTo>
                  <a:lnTo>
                    <a:pt x="22859" y="518159"/>
                  </a:lnTo>
                  <a:lnTo>
                    <a:pt x="27432" y="512063"/>
                  </a:lnTo>
                  <a:lnTo>
                    <a:pt x="30479" y="504443"/>
                  </a:lnTo>
                  <a:lnTo>
                    <a:pt x="35052" y="498347"/>
                  </a:lnTo>
                  <a:lnTo>
                    <a:pt x="41147" y="492251"/>
                  </a:lnTo>
                  <a:lnTo>
                    <a:pt x="59435" y="478535"/>
                  </a:lnTo>
                  <a:lnTo>
                    <a:pt x="74676" y="472439"/>
                  </a:lnTo>
                  <a:lnTo>
                    <a:pt x="89915" y="469391"/>
                  </a:lnTo>
                  <a:lnTo>
                    <a:pt x="638555" y="469391"/>
                  </a:lnTo>
                  <a:lnTo>
                    <a:pt x="640079" y="467867"/>
                  </a:lnTo>
                  <a:lnTo>
                    <a:pt x="659891" y="454151"/>
                  </a:lnTo>
                  <a:lnTo>
                    <a:pt x="629411" y="454151"/>
                  </a:lnTo>
                  <a:lnTo>
                    <a:pt x="631618" y="452627"/>
                  </a:lnTo>
                  <a:close/>
                </a:path>
                <a:path w="1298575" h="1007745">
                  <a:moveTo>
                    <a:pt x="1295399" y="3047"/>
                  </a:moveTo>
                  <a:lnTo>
                    <a:pt x="1283207" y="3047"/>
                  </a:lnTo>
                  <a:lnTo>
                    <a:pt x="1293875" y="15239"/>
                  </a:lnTo>
                  <a:lnTo>
                    <a:pt x="1242163" y="51040"/>
                  </a:lnTo>
                  <a:lnTo>
                    <a:pt x="896111" y="455675"/>
                  </a:lnTo>
                  <a:lnTo>
                    <a:pt x="894587" y="458723"/>
                  </a:lnTo>
                  <a:lnTo>
                    <a:pt x="894587" y="461771"/>
                  </a:lnTo>
                  <a:lnTo>
                    <a:pt x="897635" y="467867"/>
                  </a:lnTo>
                  <a:lnTo>
                    <a:pt x="900683" y="469391"/>
                  </a:lnTo>
                  <a:lnTo>
                    <a:pt x="1001267" y="469391"/>
                  </a:lnTo>
                  <a:lnTo>
                    <a:pt x="1016507" y="472439"/>
                  </a:lnTo>
                  <a:lnTo>
                    <a:pt x="1024127" y="475487"/>
                  </a:lnTo>
                  <a:lnTo>
                    <a:pt x="1031747" y="480059"/>
                  </a:lnTo>
                  <a:lnTo>
                    <a:pt x="1037843" y="483107"/>
                  </a:lnTo>
                  <a:lnTo>
                    <a:pt x="1063751" y="512063"/>
                  </a:lnTo>
                  <a:lnTo>
                    <a:pt x="1072895" y="534923"/>
                  </a:lnTo>
                  <a:lnTo>
                    <a:pt x="1072895" y="542543"/>
                  </a:lnTo>
                  <a:lnTo>
                    <a:pt x="1074419" y="551687"/>
                  </a:lnTo>
                  <a:lnTo>
                    <a:pt x="1074419" y="908303"/>
                  </a:lnTo>
                  <a:lnTo>
                    <a:pt x="1072895" y="917447"/>
                  </a:lnTo>
                  <a:lnTo>
                    <a:pt x="1050035" y="966215"/>
                  </a:lnTo>
                  <a:lnTo>
                    <a:pt x="1030223" y="979931"/>
                  </a:lnTo>
                  <a:lnTo>
                    <a:pt x="1024127" y="982979"/>
                  </a:lnTo>
                  <a:lnTo>
                    <a:pt x="1008887" y="989075"/>
                  </a:lnTo>
                  <a:lnTo>
                    <a:pt x="999743" y="989075"/>
                  </a:lnTo>
                  <a:lnTo>
                    <a:pt x="992123" y="990599"/>
                  </a:lnTo>
                  <a:lnTo>
                    <a:pt x="1045082" y="990599"/>
                  </a:lnTo>
                  <a:lnTo>
                    <a:pt x="1046987" y="989075"/>
                  </a:lnTo>
                  <a:lnTo>
                    <a:pt x="1054607" y="984503"/>
                  </a:lnTo>
                  <a:lnTo>
                    <a:pt x="1083563" y="946403"/>
                  </a:lnTo>
                  <a:lnTo>
                    <a:pt x="1091183" y="908303"/>
                  </a:lnTo>
                  <a:lnTo>
                    <a:pt x="1091183" y="550163"/>
                  </a:lnTo>
                  <a:lnTo>
                    <a:pt x="1089659" y="541019"/>
                  </a:lnTo>
                  <a:lnTo>
                    <a:pt x="1088135" y="530351"/>
                  </a:lnTo>
                  <a:lnTo>
                    <a:pt x="1086611" y="521207"/>
                  </a:lnTo>
                  <a:lnTo>
                    <a:pt x="1082039" y="512063"/>
                  </a:lnTo>
                  <a:lnTo>
                    <a:pt x="1078991" y="502919"/>
                  </a:lnTo>
                  <a:lnTo>
                    <a:pt x="1072895" y="495299"/>
                  </a:lnTo>
                  <a:lnTo>
                    <a:pt x="1068323" y="487679"/>
                  </a:lnTo>
                  <a:lnTo>
                    <a:pt x="1060703" y="481583"/>
                  </a:lnTo>
                  <a:lnTo>
                    <a:pt x="1054607" y="475487"/>
                  </a:lnTo>
                  <a:lnTo>
                    <a:pt x="1046987" y="469391"/>
                  </a:lnTo>
                  <a:lnTo>
                    <a:pt x="1041907" y="466343"/>
                  </a:lnTo>
                  <a:lnTo>
                    <a:pt x="909827" y="466343"/>
                  </a:lnTo>
                  <a:lnTo>
                    <a:pt x="903731" y="452627"/>
                  </a:lnTo>
                  <a:lnTo>
                    <a:pt x="921511" y="452627"/>
                  </a:lnTo>
                  <a:lnTo>
                    <a:pt x="1295399" y="13715"/>
                  </a:lnTo>
                  <a:lnTo>
                    <a:pt x="1298447" y="10667"/>
                  </a:lnTo>
                  <a:lnTo>
                    <a:pt x="1298447" y="6095"/>
                  </a:lnTo>
                  <a:lnTo>
                    <a:pt x="1295399" y="3047"/>
                  </a:lnTo>
                  <a:close/>
                </a:path>
                <a:path w="1298575" h="1007745">
                  <a:moveTo>
                    <a:pt x="921511" y="452627"/>
                  </a:moveTo>
                  <a:lnTo>
                    <a:pt x="903731" y="452627"/>
                  </a:lnTo>
                  <a:lnTo>
                    <a:pt x="909827" y="466343"/>
                  </a:lnTo>
                  <a:lnTo>
                    <a:pt x="921511" y="452627"/>
                  </a:lnTo>
                  <a:close/>
                </a:path>
                <a:path w="1298575" h="1007745">
                  <a:moveTo>
                    <a:pt x="1002791" y="452627"/>
                  </a:moveTo>
                  <a:lnTo>
                    <a:pt x="921511" y="452627"/>
                  </a:lnTo>
                  <a:lnTo>
                    <a:pt x="909827" y="466343"/>
                  </a:lnTo>
                  <a:lnTo>
                    <a:pt x="1041907" y="466343"/>
                  </a:lnTo>
                  <a:lnTo>
                    <a:pt x="1039367" y="464819"/>
                  </a:lnTo>
                  <a:lnTo>
                    <a:pt x="1030223" y="460247"/>
                  </a:lnTo>
                  <a:lnTo>
                    <a:pt x="1011935" y="454151"/>
                  </a:lnTo>
                  <a:lnTo>
                    <a:pt x="1002791" y="452627"/>
                  </a:lnTo>
                  <a:close/>
                </a:path>
                <a:path w="1298575" h="1007745">
                  <a:moveTo>
                    <a:pt x="1292351" y="0"/>
                  </a:moveTo>
                  <a:lnTo>
                    <a:pt x="1287779" y="0"/>
                  </a:lnTo>
                  <a:lnTo>
                    <a:pt x="1284731" y="1523"/>
                  </a:lnTo>
                  <a:lnTo>
                    <a:pt x="629411" y="454151"/>
                  </a:lnTo>
                  <a:lnTo>
                    <a:pt x="635507" y="452627"/>
                  </a:lnTo>
                  <a:lnTo>
                    <a:pt x="662093" y="452627"/>
                  </a:lnTo>
                  <a:lnTo>
                    <a:pt x="1242163" y="51040"/>
                  </a:lnTo>
                  <a:lnTo>
                    <a:pt x="1283207" y="3047"/>
                  </a:lnTo>
                  <a:lnTo>
                    <a:pt x="1295399" y="3047"/>
                  </a:lnTo>
                  <a:lnTo>
                    <a:pt x="1292351" y="0"/>
                  </a:lnTo>
                  <a:close/>
                </a:path>
                <a:path w="1298575" h="1007745">
                  <a:moveTo>
                    <a:pt x="662093" y="452627"/>
                  </a:moveTo>
                  <a:lnTo>
                    <a:pt x="635507" y="452627"/>
                  </a:lnTo>
                  <a:lnTo>
                    <a:pt x="629411" y="454151"/>
                  </a:lnTo>
                  <a:lnTo>
                    <a:pt x="659891" y="454151"/>
                  </a:lnTo>
                  <a:lnTo>
                    <a:pt x="662093" y="452627"/>
                  </a:lnTo>
                  <a:close/>
                </a:path>
                <a:path w="1298575" h="1007745">
                  <a:moveTo>
                    <a:pt x="1283207" y="3047"/>
                  </a:moveTo>
                  <a:lnTo>
                    <a:pt x="1242163" y="51040"/>
                  </a:lnTo>
                  <a:lnTo>
                    <a:pt x="1293875" y="15239"/>
                  </a:lnTo>
                  <a:lnTo>
                    <a:pt x="1283207" y="3047"/>
                  </a:lnTo>
                  <a:close/>
                </a:path>
              </a:pathLst>
            </a:custGeom>
            <a:solidFill>
              <a:srgbClr val="BC9303"/>
            </a:solidFill>
          </p:spPr>
          <p:txBody>
            <a:bodyPr wrap="square" lIns="0" tIns="0" rIns="0" bIns="0" rtlCol="0"/>
            <a:lstStyle/>
            <a:p>
              <a:endParaRPr/>
            </a:p>
          </p:txBody>
        </p:sp>
      </p:grpSp>
      <p:sp>
        <p:nvSpPr>
          <p:cNvPr id="47" name="object 34">
            <a:extLst>
              <a:ext uri="{FF2B5EF4-FFF2-40B4-BE49-F238E27FC236}">
                <a16:creationId xmlns:a16="http://schemas.microsoft.com/office/drawing/2014/main" id="{8DBB4E14-871A-555C-F601-89EE8A59503F}"/>
              </a:ext>
            </a:extLst>
          </p:cNvPr>
          <p:cNvSpPr txBox="1"/>
          <p:nvPr/>
        </p:nvSpPr>
        <p:spPr>
          <a:xfrm>
            <a:off x="1158474" y="4868691"/>
            <a:ext cx="700405" cy="398145"/>
          </a:xfrm>
          <a:prstGeom prst="rect">
            <a:avLst/>
          </a:prstGeom>
        </p:spPr>
        <p:txBody>
          <a:bodyPr vert="horz" wrap="square" lIns="0" tIns="12700" rIns="0" bIns="0" rtlCol="0">
            <a:spAutoFit/>
          </a:bodyPr>
          <a:lstStyle/>
          <a:p>
            <a:pPr marL="12700" marR="5080" indent="184150">
              <a:lnSpc>
                <a:spcPct val="101699"/>
              </a:lnSpc>
              <a:spcBef>
                <a:spcPts val="100"/>
              </a:spcBef>
            </a:pPr>
            <a:r>
              <a:rPr sz="1200" b="1" spc="5" dirty="0">
                <a:solidFill>
                  <a:srgbClr val="CD8C3D"/>
                </a:solidFill>
                <a:latin typeface="Corbel"/>
                <a:cs typeface="Corbel"/>
              </a:rPr>
              <a:t>Fase </a:t>
            </a:r>
            <a:r>
              <a:rPr sz="1200" b="1" spc="10" dirty="0">
                <a:solidFill>
                  <a:srgbClr val="CD8C3D"/>
                </a:solidFill>
                <a:latin typeface="Corbel"/>
                <a:cs typeface="Corbel"/>
              </a:rPr>
              <a:t> </a:t>
            </a:r>
            <a:r>
              <a:rPr sz="1200" b="1" spc="5" dirty="0">
                <a:solidFill>
                  <a:srgbClr val="CD8C3D"/>
                </a:solidFill>
                <a:latin typeface="Corbel"/>
                <a:cs typeface="Corbel"/>
              </a:rPr>
              <a:t>v</a:t>
            </a:r>
            <a:r>
              <a:rPr sz="1200" b="1" spc="10" dirty="0">
                <a:solidFill>
                  <a:srgbClr val="CD8C3D"/>
                </a:solidFill>
                <a:latin typeface="Corbel"/>
                <a:cs typeface="Corbel"/>
              </a:rPr>
              <a:t>alutat</a:t>
            </a:r>
            <a:r>
              <a:rPr sz="1200" b="1" dirty="0">
                <a:solidFill>
                  <a:srgbClr val="CD8C3D"/>
                </a:solidFill>
                <a:latin typeface="Corbel"/>
                <a:cs typeface="Corbel"/>
              </a:rPr>
              <a:t>iv</a:t>
            </a:r>
            <a:r>
              <a:rPr sz="1200" b="1" spc="10" dirty="0">
                <a:solidFill>
                  <a:srgbClr val="CD8C3D"/>
                </a:solidFill>
                <a:latin typeface="Corbel"/>
                <a:cs typeface="Corbel"/>
              </a:rPr>
              <a:t>a</a:t>
            </a:r>
            <a:endParaRPr sz="1200" dirty="0">
              <a:latin typeface="Corbel"/>
              <a:cs typeface="Corbel"/>
            </a:endParaRPr>
          </a:p>
        </p:txBody>
      </p:sp>
      <p:grpSp>
        <p:nvGrpSpPr>
          <p:cNvPr id="48" name="object 35">
            <a:extLst>
              <a:ext uri="{FF2B5EF4-FFF2-40B4-BE49-F238E27FC236}">
                <a16:creationId xmlns:a16="http://schemas.microsoft.com/office/drawing/2014/main" id="{FE49CF8C-C03D-C6AF-FAC2-FFE08D2CBB4F}"/>
              </a:ext>
            </a:extLst>
          </p:cNvPr>
          <p:cNvGrpSpPr/>
          <p:nvPr/>
        </p:nvGrpSpPr>
        <p:grpSpPr>
          <a:xfrm>
            <a:off x="6313042" y="4927834"/>
            <a:ext cx="1742439" cy="553720"/>
            <a:chOff x="6960107" y="5477255"/>
            <a:chExt cx="1742439" cy="553720"/>
          </a:xfrm>
        </p:grpSpPr>
        <p:sp>
          <p:nvSpPr>
            <p:cNvPr id="49" name="object 36">
              <a:extLst>
                <a:ext uri="{FF2B5EF4-FFF2-40B4-BE49-F238E27FC236}">
                  <a16:creationId xmlns:a16="http://schemas.microsoft.com/office/drawing/2014/main" id="{6C31004B-B1C3-15DE-BAA4-31EBE744B23B}"/>
                </a:ext>
              </a:extLst>
            </p:cNvPr>
            <p:cNvSpPr/>
            <p:nvPr/>
          </p:nvSpPr>
          <p:spPr>
            <a:xfrm>
              <a:off x="6969251" y="5484875"/>
              <a:ext cx="1724025" cy="538480"/>
            </a:xfrm>
            <a:custGeom>
              <a:avLst/>
              <a:gdLst/>
              <a:ahLst/>
              <a:cxnLst/>
              <a:rect l="l" t="t" r="r" b="b"/>
              <a:pathLst>
                <a:path w="1724025" h="538479">
                  <a:moveTo>
                    <a:pt x="0" y="292608"/>
                  </a:moveTo>
                  <a:lnTo>
                    <a:pt x="713231" y="448056"/>
                  </a:lnTo>
                  <a:lnTo>
                    <a:pt x="720423" y="483322"/>
                  </a:lnTo>
                  <a:lnTo>
                    <a:pt x="739901" y="511873"/>
                  </a:lnTo>
                  <a:lnTo>
                    <a:pt x="768524" y="530994"/>
                  </a:lnTo>
                  <a:lnTo>
                    <a:pt x="803147" y="537971"/>
                  </a:lnTo>
                  <a:lnTo>
                    <a:pt x="1635251" y="537971"/>
                  </a:lnTo>
                  <a:lnTo>
                    <a:pt x="1669637" y="530994"/>
                  </a:lnTo>
                  <a:lnTo>
                    <a:pt x="1697735" y="511873"/>
                  </a:lnTo>
                  <a:lnTo>
                    <a:pt x="1716690" y="483322"/>
                  </a:lnTo>
                  <a:lnTo>
                    <a:pt x="1723643" y="448056"/>
                  </a:lnTo>
                  <a:lnTo>
                    <a:pt x="1723643" y="313944"/>
                  </a:lnTo>
                  <a:lnTo>
                    <a:pt x="713231" y="313944"/>
                  </a:lnTo>
                  <a:lnTo>
                    <a:pt x="0" y="292608"/>
                  </a:lnTo>
                  <a:close/>
                </a:path>
                <a:path w="1724025" h="538479">
                  <a:moveTo>
                    <a:pt x="1635251" y="0"/>
                  </a:moveTo>
                  <a:lnTo>
                    <a:pt x="803147" y="0"/>
                  </a:lnTo>
                  <a:lnTo>
                    <a:pt x="768524" y="7191"/>
                  </a:lnTo>
                  <a:lnTo>
                    <a:pt x="739901" y="26670"/>
                  </a:lnTo>
                  <a:lnTo>
                    <a:pt x="720423" y="55292"/>
                  </a:lnTo>
                  <a:lnTo>
                    <a:pt x="713231" y="89916"/>
                  </a:lnTo>
                  <a:lnTo>
                    <a:pt x="713231" y="313944"/>
                  </a:lnTo>
                  <a:lnTo>
                    <a:pt x="1723643" y="313944"/>
                  </a:lnTo>
                  <a:lnTo>
                    <a:pt x="1723643" y="89916"/>
                  </a:lnTo>
                  <a:lnTo>
                    <a:pt x="1716690" y="55292"/>
                  </a:lnTo>
                  <a:lnTo>
                    <a:pt x="1697735" y="26670"/>
                  </a:lnTo>
                  <a:lnTo>
                    <a:pt x="1669637" y="7191"/>
                  </a:lnTo>
                  <a:lnTo>
                    <a:pt x="1635251" y="0"/>
                  </a:lnTo>
                  <a:close/>
                </a:path>
              </a:pathLst>
            </a:custGeom>
            <a:solidFill>
              <a:srgbClr val="FFF4CD"/>
            </a:solidFill>
          </p:spPr>
          <p:txBody>
            <a:bodyPr wrap="square" lIns="0" tIns="0" rIns="0" bIns="0" rtlCol="0"/>
            <a:lstStyle/>
            <a:p>
              <a:endParaRPr/>
            </a:p>
          </p:txBody>
        </p:sp>
        <p:sp>
          <p:nvSpPr>
            <p:cNvPr id="50" name="object 37">
              <a:extLst>
                <a:ext uri="{FF2B5EF4-FFF2-40B4-BE49-F238E27FC236}">
                  <a16:creationId xmlns:a16="http://schemas.microsoft.com/office/drawing/2014/main" id="{6A7A171A-B20F-8425-B995-E0EAF8F6EE3B}"/>
                </a:ext>
              </a:extLst>
            </p:cNvPr>
            <p:cNvSpPr/>
            <p:nvPr/>
          </p:nvSpPr>
          <p:spPr>
            <a:xfrm>
              <a:off x="6960107" y="5477255"/>
              <a:ext cx="1742439" cy="553720"/>
            </a:xfrm>
            <a:custGeom>
              <a:avLst/>
              <a:gdLst/>
              <a:ahLst/>
              <a:cxnLst/>
              <a:rect l="l" t="t" r="r" b="b"/>
              <a:pathLst>
                <a:path w="1742440" h="553720">
                  <a:moveTo>
                    <a:pt x="714755" y="463481"/>
                  </a:moveTo>
                  <a:lnTo>
                    <a:pt x="714755" y="466344"/>
                  </a:lnTo>
                  <a:lnTo>
                    <a:pt x="716279" y="475488"/>
                  </a:lnTo>
                  <a:lnTo>
                    <a:pt x="731519" y="510539"/>
                  </a:lnTo>
                  <a:lnTo>
                    <a:pt x="751331" y="531875"/>
                  </a:lnTo>
                  <a:lnTo>
                    <a:pt x="757427" y="537971"/>
                  </a:lnTo>
                  <a:lnTo>
                    <a:pt x="766571" y="542543"/>
                  </a:lnTo>
                  <a:lnTo>
                    <a:pt x="774191" y="545591"/>
                  </a:lnTo>
                  <a:lnTo>
                    <a:pt x="783335" y="550163"/>
                  </a:lnTo>
                  <a:lnTo>
                    <a:pt x="794003" y="551687"/>
                  </a:lnTo>
                  <a:lnTo>
                    <a:pt x="803147" y="553211"/>
                  </a:lnTo>
                  <a:lnTo>
                    <a:pt x="1653539" y="553211"/>
                  </a:lnTo>
                  <a:lnTo>
                    <a:pt x="1664207" y="551687"/>
                  </a:lnTo>
                  <a:lnTo>
                    <a:pt x="1691639" y="542543"/>
                  </a:lnTo>
                  <a:lnTo>
                    <a:pt x="1699259" y="536447"/>
                  </a:lnTo>
                  <a:lnTo>
                    <a:pt x="803147" y="536447"/>
                  </a:lnTo>
                  <a:lnTo>
                    <a:pt x="787907" y="533399"/>
                  </a:lnTo>
                  <a:lnTo>
                    <a:pt x="754379" y="513587"/>
                  </a:lnTo>
                  <a:lnTo>
                    <a:pt x="734567" y="480059"/>
                  </a:lnTo>
                  <a:lnTo>
                    <a:pt x="731773" y="464819"/>
                  </a:lnTo>
                  <a:lnTo>
                    <a:pt x="720851" y="464819"/>
                  </a:lnTo>
                  <a:lnTo>
                    <a:pt x="714755" y="463481"/>
                  </a:lnTo>
                  <a:close/>
                </a:path>
                <a:path w="1742440" h="553720">
                  <a:moveTo>
                    <a:pt x="1697735" y="16763"/>
                  </a:moveTo>
                  <a:lnTo>
                    <a:pt x="1652015" y="16763"/>
                  </a:lnTo>
                  <a:lnTo>
                    <a:pt x="1661159" y="18287"/>
                  </a:lnTo>
                  <a:lnTo>
                    <a:pt x="1668779" y="19812"/>
                  </a:lnTo>
                  <a:lnTo>
                    <a:pt x="1706879" y="45719"/>
                  </a:lnTo>
                  <a:lnTo>
                    <a:pt x="1711451" y="53339"/>
                  </a:lnTo>
                  <a:lnTo>
                    <a:pt x="1716023" y="59436"/>
                  </a:lnTo>
                  <a:lnTo>
                    <a:pt x="1722119" y="74675"/>
                  </a:lnTo>
                  <a:lnTo>
                    <a:pt x="1725167" y="89915"/>
                  </a:lnTo>
                  <a:lnTo>
                    <a:pt x="1725167" y="464819"/>
                  </a:lnTo>
                  <a:lnTo>
                    <a:pt x="1723643" y="472439"/>
                  </a:lnTo>
                  <a:lnTo>
                    <a:pt x="1720595" y="480059"/>
                  </a:lnTo>
                  <a:lnTo>
                    <a:pt x="1719071" y="487679"/>
                  </a:lnTo>
                  <a:lnTo>
                    <a:pt x="1714499" y="495299"/>
                  </a:lnTo>
                  <a:lnTo>
                    <a:pt x="1711451" y="501395"/>
                  </a:lnTo>
                  <a:lnTo>
                    <a:pt x="1706879" y="507491"/>
                  </a:lnTo>
                  <a:lnTo>
                    <a:pt x="1700783" y="513587"/>
                  </a:lnTo>
                  <a:lnTo>
                    <a:pt x="1682495" y="527303"/>
                  </a:lnTo>
                  <a:lnTo>
                    <a:pt x="1667255" y="533399"/>
                  </a:lnTo>
                  <a:lnTo>
                    <a:pt x="1652015" y="536447"/>
                  </a:lnTo>
                  <a:lnTo>
                    <a:pt x="1699259" y="536447"/>
                  </a:lnTo>
                  <a:lnTo>
                    <a:pt x="1706879" y="531875"/>
                  </a:lnTo>
                  <a:lnTo>
                    <a:pt x="1712975" y="524255"/>
                  </a:lnTo>
                  <a:lnTo>
                    <a:pt x="1719071" y="518159"/>
                  </a:lnTo>
                  <a:lnTo>
                    <a:pt x="1740407" y="475488"/>
                  </a:lnTo>
                  <a:lnTo>
                    <a:pt x="1741931" y="464819"/>
                  </a:lnTo>
                  <a:lnTo>
                    <a:pt x="1741931" y="86868"/>
                  </a:lnTo>
                  <a:lnTo>
                    <a:pt x="1729739" y="50292"/>
                  </a:lnTo>
                  <a:lnTo>
                    <a:pt x="1705355" y="21336"/>
                  </a:lnTo>
                  <a:lnTo>
                    <a:pt x="1697735" y="16763"/>
                  </a:lnTo>
                  <a:close/>
                </a:path>
                <a:path w="1742440" h="553720">
                  <a:moveTo>
                    <a:pt x="714755" y="455675"/>
                  </a:moveTo>
                  <a:lnTo>
                    <a:pt x="714755" y="463481"/>
                  </a:lnTo>
                  <a:lnTo>
                    <a:pt x="720851" y="464819"/>
                  </a:lnTo>
                  <a:lnTo>
                    <a:pt x="714755" y="455675"/>
                  </a:lnTo>
                  <a:close/>
                </a:path>
                <a:path w="1742440" h="553720">
                  <a:moveTo>
                    <a:pt x="731519" y="455675"/>
                  </a:moveTo>
                  <a:lnTo>
                    <a:pt x="714755" y="455675"/>
                  </a:lnTo>
                  <a:lnTo>
                    <a:pt x="720851" y="464819"/>
                  </a:lnTo>
                  <a:lnTo>
                    <a:pt x="731773" y="464819"/>
                  </a:lnTo>
                  <a:lnTo>
                    <a:pt x="731550" y="463481"/>
                  </a:lnTo>
                  <a:lnTo>
                    <a:pt x="731519" y="455675"/>
                  </a:lnTo>
                  <a:close/>
                </a:path>
                <a:path w="1742440" h="553720">
                  <a:moveTo>
                    <a:pt x="9144" y="291083"/>
                  </a:moveTo>
                  <a:lnTo>
                    <a:pt x="4572" y="291083"/>
                  </a:lnTo>
                  <a:lnTo>
                    <a:pt x="1524" y="294131"/>
                  </a:lnTo>
                  <a:lnTo>
                    <a:pt x="0" y="298703"/>
                  </a:lnTo>
                  <a:lnTo>
                    <a:pt x="0" y="303275"/>
                  </a:lnTo>
                  <a:lnTo>
                    <a:pt x="3048" y="307848"/>
                  </a:lnTo>
                  <a:lnTo>
                    <a:pt x="6096" y="307848"/>
                  </a:lnTo>
                  <a:lnTo>
                    <a:pt x="714755" y="463481"/>
                  </a:lnTo>
                  <a:lnTo>
                    <a:pt x="714755" y="455675"/>
                  </a:lnTo>
                  <a:lnTo>
                    <a:pt x="731519" y="455675"/>
                  </a:lnTo>
                  <a:lnTo>
                    <a:pt x="731519" y="451103"/>
                  </a:lnTo>
                  <a:lnTo>
                    <a:pt x="728471" y="448056"/>
                  </a:lnTo>
                  <a:lnTo>
                    <a:pt x="725423" y="448056"/>
                  </a:lnTo>
                  <a:lnTo>
                    <a:pt x="100532" y="310819"/>
                  </a:lnTo>
                  <a:lnTo>
                    <a:pt x="7620" y="307848"/>
                  </a:lnTo>
                  <a:lnTo>
                    <a:pt x="10659" y="291132"/>
                  </a:lnTo>
                  <a:lnTo>
                    <a:pt x="9144" y="291083"/>
                  </a:lnTo>
                  <a:close/>
                </a:path>
                <a:path w="1742440" h="553720">
                  <a:moveTo>
                    <a:pt x="10927" y="291141"/>
                  </a:moveTo>
                  <a:lnTo>
                    <a:pt x="100532" y="310819"/>
                  </a:lnTo>
                  <a:lnTo>
                    <a:pt x="722375" y="330707"/>
                  </a:lnTo>
                  <a:lnTo>
                    <a:pt x="725423" y="330707"/>
                  </a:lnTo>
                  <a:lnTo>
                    <a:pt x="731519" y="324612"/>
                  </a:lnTo>
                  <a:lnTo>
                    <a:pt x="731519" y="321563"/>
                  </a:lnTo>
                  <a:lnTo>
                    <a:pt x="714755" y="321563"/>
                  </a:lnTo>
                  <a:lnTo>
                    <a:pt x="714755" y="313651"/>
                  </a:lnTo>
                  <a:lnTo>
                    <a:pt x="10927" y="291141"/>
                  </a:lnTo>
                  <a:close/>
                </a:path>
                <a:path w="1742440" h="553720">
                  <a:moveTo>
                    <a:pt x="714755" y="313651"/>
                  </a:moveTo>
                  <a:lnTo>
                    <a:pt x="714755" y="321563"/>
                  </a:lnTo>
                  <a:lnTo>
                    <a:pt x="723899" y="313944"/>
                  </a:lnTo>
                  <a:lnTo>
                    <a:pt x="714755" y="313651"/>
                  </a:lnTo>
                  <a:close/>
                </a:path>
                <a:path w="1742440" h="553720">
                  <a:moveTo>
                    <a:pt x="1653539" y="0"/>
                  </a:moveTo>
                  <a:lnTo>
                    <a:pt x="801623" y="0"/>
                  </a:lnTo>
                  <a:lnTo>
                    <a:pt x="792479" y="1524"/>
                  </a:lnTo>
                  <a:lnTo>
                    <a:pt x="757427" y="16763"/>
                  </a:lnTo>
                  <a:lnTo>
                    <a:pt x="726947" y="51815"/>
                  </a:lnTo>
                  <a:lnTo>
                    <a:pt x="722375" y="59436"/>
                  </a:lnTo>
                  <a:lnTo>
                    <a:pt x="719327" y="68580"/>
                  </a:lnTo>
                  <a:lnTo>
                    <a:pt x="716279" y="79248"/>
                  </a:lnTo>
                  <a:lnTo>
                    <a:pt x="714755" y="88392"/>
                  </a:lnTo>
                  <a:lnTo>
                    <a:pt x="714755" y="313651"/>
                  </a:lnTo>
                  <a:lnTo>
                    <a:pt x="723899" y="313944"/>
                  </a:lnTo>
                  <a:lnTo>
                    <a:pt x="714755" y="321563"/>
                  </a:lnTo>
                  <a:lnTo>
                    <a:pt x="731519" y="321563"/>
                  </a:lnTo>
                  <a:lnTo>
                    <a:pt x="731519" y="88392"/>
                  </a:lnTo>
                  <a:lnTo>
                    <a:pt x="734567" y="73151"/>
                  </a:lnTo>
                  <a:lnTo>
                    <a:pt x="760475" y="35051"/>
                  </a:lnTo>
                  <a:lnTo>
                    <a:pt x="768095" y="30480"/>
                  </a:lnTo>
                  <a:lnTo>
                    <a:pt x="774191" y="25907"/>
                  </a:lnTo>
                  <a:lnTo>
                    <a:pt x="789431" y="19812"/>
                  </a:lnTo>
                  <a:lnTo>
                    <a:pt x="804671" y="16763"/>
                  </a:lnTo>
                  <a:lnTo>
                    <a:pt x="1697735" y="16763"/>
                  </a:lnTo>
                  <a:lnTo>
                    <a:pt x="1690115" y="12192"/>
                  </a:lnTo>
                  <a:lnTo>
                    <a:pt x="1680971" y="7619"/>
                  </a:lnTo>
                  <a:lnTo>
                    <a:pt x="1662683" y="1524"/>
                  </a:lnTo>
                  <a:lnTo>
                    <a:pt x="1653539" y="0"/>
                  </a:lnTo>
                  <a:close/>
                </a:path>
                <a:path w="1742440" h="553720">
                  <a:moveTo>
                    <a:pt x="10659" y="291132"/>
                  </a:moveTo>
                  <a:lnTo>
                    <a:pt x="7620" y="307848"/>
                  </a:lnTo>
                  <a:lnTo>
                    <a:pt x="100532" y="310819"/>
                  </a:lnTo>
                  <a:lnTo>
                    <a:pt x="10927" y="291141"/>
                  </a:lnTo>
                  <a:lnTo>
                    <a:pt x="10659" y="291132"/>
                  </a:lnTo>
                  <a:close/>
                </a:path>
                <a:path w="1742440" h="553720">
                  <a:moveTo>
                    <a:pt x="10668" y="291083"/>
                  </a:moveTo>
                  <a:lnTo>
                    <a:pt x="10927" y="291141"/>
                  </a:lnTo>
                  <a:lnTo>
                    <a:pt x="10668" y="291083"/>
                  </a:lnTo>
                  <a:close/>
                </a:path>
              </a:pathLst>
            </a:custGeom>
            <a:solidFill>
              <a:srgbClr val="BC9303"/>
            </a:solidFill>
          </p:spPr>
          <p:txBody>
            <a:bodyPr wrap="square" lIns="0" tIns="0" rIns="0" bIns="0" rtlCol="0"/>
            <a:lstStyle/>
            <a:p>
              <a:endParaRPr/>
            </a:p>
          </p:txBody>
        </p:sp>
      </p:grpSp>
      <p:sp>
        <p:nvSpPr>
          <p:cNvPr id="51" name="object 38">
            <a:extLst>
              <a:ext uri="{FF2B5EF4-FFF2-40B4-BE49-F238E27FC236}">
                <a16:creationId xmlns:a16="http://schemas.microsoft.com/office/drawing/2014/main" id="{8CD77BB8-EF56-4829-7233-48F41E3B74B9}"/>
              </a:ext>
            </a:extLst>
          </p:cNvPr>
          <p:cNvSpPr txBox="1"/>
          <p:nvPr/>
        </p:nvSpPr>
        <p:spPr>
          <a:xfrm>
            <a:off x="7216494" y="4994986"/>
            <a:ext cx="643890" cy="398145"/>
          </a:xfrm>
          <a:prstGeom prst="rect">
            <a:avLst/>
          </a:prstGeom>
        </p:spPr>
        <p:txBody>
          <a:bodyPr vert="horz" wrap="square" lIns="0" tIns="12700" rIns="0" bIns="0" rtlCol="0">
            <a:spAutoFit/>
          </a:bodyPr>
          <a:lstStyle/>
          <a:p>
            <a:pPr marL="12700" marR="5080" indent="156845">
              <a:lnSpc>
                <a:spcPct val="101699"/>
              </a:lnSpc>
              <a:spcBef>
                <a:spcPts val="100"/>
              </a:spcBef>
            </a:pPr>
            <a:r>
              <a:rPr sz="1200" b="1" spc="5" dirty="0">
                <a:solidFill>
                  <a:srgbClr val="CD8C3D"/>
                </a:solidFill>
                <a:latin typeface="Corbel"/>
                <a:cs typeface="Corbel"/>
              </a:rPr>
              <a:t>Fase </a:t>
            </a:r>
            <a:r>
              <a:rPr sz="1200" b="1" spc="10" dirty="0">
                <a:solidFill>
                  <a:srgbClr val="CD8C3D"/>
                </a:solidFill>
                <a:latin typeface="Corbel"/>
                <a:cs typeface="Corbel"/>
              </a:rPr>
              <a:t> attuat</a:t>
            </a:r>
            <a:r>
              <a:rPr sz="1200" b="1" dirty="0">
                <a:solidFill>
                  <a:srgbClr val="CD8C3D"/>
                </a:solidFill>
                <a:latin typeface="Corbel"/>
                <a:cs typeface="Corbel"/>
              </a:rPr>
              <a:t>iv</a:t>
            </a:r>
            <a:r>
              <a:rPr sz="1200" b="1" spc="10" dirty="0">
                <a:solidFill>
                  <a:srgbClr val="CD8C3D"/>
                </a:solidFill>
                <a:latin typeface="Corbel"/>
                <a:cs typeface="Corbel"/>
              </a:rPr>
              <a:t>a</a:t>
            </a:r>
            <a:endParaRPr sz="1200">
              <a:latin typeface="Corbel"/>
              <a:cs typeface="Corbel"/>
            </a:endParaRPr>
          </a:p>
        </p:txBody>
      </p:sp>
      <p:grpSp>
        <p:nvGrpSpPr>
          <p:cNvPr id="52" name="object 39">
            <a:extLst>
              <a:ext uri="{FF2B5EF4-FFF2-40B4-BE49-F238E27FC236}">
                <a16:creationId xmlns:a16="http://schemas.microsoft.com/office/drawing/2014/main" id="{EB14AC31-876F-F708-E8CB-C656CC45E087}"/>
              </a:ext>
            </a:extLst>
          </p:cNvPr>
          <p:cNvGrpSpPr/>
          <p:nvPr/>
        </p:nvGrpSpPr>
        <p:grpSpPr>
          <a:xfrm>
            <a:off x="3934079" y="3095987"/>
            <a:ext cx="1405255" cy="711835"/>
            <a:chOff x="4581144" y="3645408"/>
            <a:chExt cx="1405255" cy="711835"/>
          </a:xfrm>
        </p:grpSpPr>
        <p:sp>
          <p:nvSpPr>
            <p:cNvPr id="53" name="object 40">
              <a:extLst>
                <a:ext uri="{FF2B5EF4-FFF2-40B4-BE49-F238E27FC236}">
                  <a16:creationId xmlns:a16="http://schemas.microsoft.com/office/drawing/2014/main" id="{0AACDEB4-C7C4-A074-E337-D17C341DD5D1}"/>
                </a:ext>
              </a:extLst>
            </p:cNvPr>
            <p:cNvSpPr/>
            <p:nvPr/>
          </p:nvSpPr>
          <p:spPr>
            <a:xfrm>
              <a:off x="4588764" y="3654552"/>
              <a:ext cx="1390015" cy="695325"/>
            </a:xfrm>
            <a:custGeom>
              <a:avLst/>
              <a:gdLst/>
              <a:ahLst/>
              <a:cxnLst/>
              <a:rect l="l" t="t" r="r" b="b"/>
              <a:pathLst>
                <a:path w="1390014" h="695325">
                  <a:moveTo>
                    <a:pt x="1274063" y="0"/>
                  </a:moveTo>
                  <a:lnTo>
                    <a:pt x="115824" y="0"/>
                  </a:lnTo>
                  <a:lnTo>
                    <a:pt x="70723" y="9096"/>
                  </a:lnTo>
                  <a:lnTo>
                    <a:pt x="33909" y="33908"/>
                  </a:lnTo>
                  <a:lnTo>
                    <a:pt x="9096" y="70723"/>
                  </a:lnTo>
                  <a:lnTo>
                    <a:pt x="0" y="115823"/>
                  </a:lnTo>
                  <a:lnTo>
                    <a:pt x="0" y="579119"/>
                  </a:lnTo>
                  <a:lnTo>
                    <a:pt x="9096" y="624220"/>
                  </a:lnTo>
                  <a:lnTo>
                    <a:pt x="33909" y="661034"/>
                  </a:lnTo>
                  <a:lnTo>
                    <a:pt x="70723" y="685847"/>
                  </a:lnTo>
                  <a:lnTo>
                    <a:pt x="115824" y="694943"/>
                  </a:lnTo>
                  <a:lnTo>
                    <a:pt x="1274063" y="694943"/>
                  </a:lnTo>
                  <a:lnTo>
                    <a:pt x="1319164" y="685847"/>
                  </a:lnTo>
                  <a:lnTo>
                    <a:pt x="1355978" y="661034"/>
                  </a:lnTo>
                  <a:lnTo>
                    <a:pt x="1380791" y="624220"/>
                  </a:lnTo>
                  <a:lnTo>
                    <a:pt x="1389887" y="579119"/>
                  </a:lnTo>
                  <a:lnTo>
                    <a:pt x="1389887" y="115823"/>
                  </a:lnTo>
                  <a:lnTo>
                    <a:pt x="1380791" y="70723"/>
                  </a:lnTo>
                  <a:lnTo>
                    <a:pt x="1355978" y="33908"/>
                  </a:lnTo>
                  <a:lnTo>
                    <a:pt x="1319164" y="9096"/>
                  </a:lnTo>
                  <a:lnTo>
                    <a:pt x="1274063" y="0"/>
                  </a:lnTo>
                  <a:close/>
                </a:path>
              </a:pathLst>
            </a:custGeom>
            <a:solidFill>
              <a:srgbClr val="FFF4CD"/>
            </a:solidFill>
          </p:spPr>
          <p:txBody>
            <a:bodyPr wrap="square" lIns="0" tIns="0" rIns="0" bIns="0" rtlCol="0"/>
            <a:lstStyle/>
            <a:p>
              <a:endParaRPr/>
            </a:p>
          </p:txBody>
        </p:sp>
        <p:sp>
          <p:nvSpPr>
            <p:cNvPr id="54" name="object 41">
              <a:extLst>
                <a:ext uri="{FF2B5EF4-FFF2-40B4-BE49-F238E27FC236}">
                  <a16:creationId xmlns:a16="http://schemas.microsoft.com/office/drawing/2014/main" id="{8C06725C-4859-5E36-229A-22F87735280A}"/>
                </a:ext>
              </a:extLst>
            </p:cNvPr>
            <p:cNvSpPr/>
            <p:nvPr/>
          </p:nvSpPr>
          <p:spPr>
            <a:xfrm>
              <a:off x="4581144" y="3645408"/>
              <a:ext cx="1405255" cy="711835"/>
            </a:xfrm>
            <a:custGeom>
              <a:avLst/>
              <a:gdLst/>
              <a:ahLst/>
              <a:cxnLst/>
              <a:rect l="l" t="t" r="r" b="b"/>
              <a:pathLst>
                <a:path w="1405254" h="711835">
                  <a:moveTo>
                    <a:pt x="1281683" y="0"/>
                  </a:moveTo>
                  <a:lnTo>
                    <a:pt x="123444" y="0"/>
                  </a:lnTo>
                  <a:lnTo>
                    <a:pt x="109727" y="1524"/>
                  </a:lnTo>
                  <a:lnTo>
                    <a:pt x="64008" y="15239"/>
                  </a:lnTo>
                  <a:lnTo>
                    <a:pt x="19812" y="54863"/>
                  </a:lnTo>
                  <a:lnTo>
                    <a:pt x="1524" y="100583"/>
                  </a:lnTo>
                  <a:lnTo>
                    <a:pt x="0" y="112775"/>
                  </a:lnTo>
                  <a:lnTo>
                    <a:pt x="0" y="600455"/>
                  </a:lnTo>
                  <a:lnTo>
                    <a:pt x="15239" y="647699"/>
                  </a:lnTo>
                  <a:lnTo>
                    <a:pt x="21336" y="656843"/>
                  </a:lnTo>
                  <a:lnTo>
                    <a:pt x="27432" y="667511"/>
                  </a:lnTo>
                  <a:lnTo>
                    <a:pt x="36575" y="675131"/>
                  </a:lnTo>
                  <a:lnTo>
                    <a:pt x="44196" y="684275"/>
                  </a:lnTo>
                  <a:lnTo>
                    <a:pt x="54863" y="690371"/>
                  </a:lnTo>
                  <a:lnTo>
                    <a:pt x="64008" y="696467"/>
                  </a:lnTo>
                  <a:lnTo>
                    <a:pt x="76200" y="702563"/>
                  </a:lnTo>
                  <a:lnTo>
                    <a:pt x="86868" y="705611"/>
                  </a:lnTo>
                  <a:lnTo>
                    <a:pt x="111251" y="711707"/>
                  </a:lnTo>
                  <a:lnTo>
                    <a:pt x="1293875" y="711707"/>
                  </a:lnTo>
                  <a:lnTo>
                    <a:pt x="1330451" y="702563"/>
                  </a:lnTo>
                  <a:lnTo>
                    <a:pt x="1341119" y="696467"/>
                  </a:lnTo>
                  <a:lnTo>
                    <a:pt x="1343405" y="694943"/>
                  </a:lnTo>
                  <a:lnTo>
                    <a:pt x="112775" y="694943"/>
                  </a:lnTo>
                  <a:lnTo>
                    <a:pt x="102108" y="693419"/>
                  </a:lnTo>
                  <a:lnTo>
                    <a:pt x="62484" y="676655"/>
                  </a:lnTo>
                  <a:lnTo>
                    <a:pt x="33527" y="647699"/>
                  </a:lnTo>
                  <a:lnTo>
                    <a:pt x="21336" y="618743"/>
                  </a:lnTo>
                  <a:lnTo>
                    <a:pt x="18287" y="609599"/>
                  </a:lnTo>
                  <a:lnTo>
                    <a:pt x="16763" y="598931"/>
                  </a:lnTo>
                  <a:lnTo>
                    <a:pt x="16763" y="112775"/>
                  </a:lnTo>
                  <a:lnTo>
                    <a:pt x="18287" y="102107"/>
                  </a:lnTo>
                  <a:lnTo>
                    <a:pt x="21336" y="92963"/>
                  </a:lnTo>
                  <a:lnTo>
                    <a:pt x="24384" y="82295"/>
                  </a:lnTo>
                  <a:lnTo>
                    <a:pt x="47244" y="48767"/>
                  </a:lnTo>
                  <a:lnTo>
                    <a:pt x="91439" y="21336"/>
                  </a:lnTo>
                  <a:lnTo>
                    <a:pt x="123444" y="16763"/>
                  </a:lnTo>
                  <a:lnTo>
                    <a:pt x="1342262" y="16763"/>
                  </a:lnTo>
                  <a:lnTo>
                    <a:pt x="1339595" y="15239"/>
                  </a:lnTo>
                  <a:lnTo>
                    <a:pt x="1318259" y="6096"/>
                  </a:lnTo>
                  <a:lnTo>
                    <a:pt x="1306067" y="3048"/>
                  </a:lnTo>
                  <a:lnTo>
                    <a:pt x="1281683" y="0"/>
                  </a:lnTo>
                  <a:close/>
                </a:path>
                <a:path w="1405254" h="711835">
                  <a:moveTo>
                    <a:pt x="1342262" y="16763"/>
                  </a:moveTo>
                  <a:lnTo>
                    <a:pt x="1281683" y="16763"/>
                  </a:lnTo>
                  <a:lnTo>
                    <a:pt x="1313687" y="21336"/>
                  </a:lnTo>
                  <a:lnTo>
                    <a:pt x="1322831" y="25908"/>
                  </a:lnTo>
                  <a:lnTo>
                    <a:pt x="1333499" y="30480"/>
                  </a:lnTo>
                  <a:lnTo>
                    <a:pt x="1341119" y="35051"/>
                  </a:lnTo>
                  <a:lnTo>
                    <a:pt x="1350263" y="42672"/>
                  </a:lnTo>
                  <a:lnTo>
                    <a:pt x="1357883" y="48767"/>
                  </a:lnTo>
                  <a:lnTo>
                    <a:pt x="1363979" y="56387"/>
                  </a:lnTo>
                  <a:lnTo>
                    <a:pt x="1370075" y="65531"/>
                  </a:lnTo>
                  <a:lnTo>
                    <a:pt x="1376171" y="73151"/>
                  </a:lnTo>
                  <a:lnTo>
                    <a:pt x="1380743" y="83819"/>
                  </a:lnTo>
                  <a:lnTo>
                    <a:pt x="1383791" y="92963"/>
                  </a:lnTo>
                  <a:lnTo>
                    <a:pt x="1386839" y="103631"/>
                  </a:lnTo>
                  <a:lnTo>
                    <a:pt x="1388363" y="114299"/>
                  </a:lnTo>
                  <a:lnTo>
                    <a:pt x="1388363" y="598931"/>
                  </a:lnTo>
                  <a:lnTo>
                    <a:pt x="1376171" y="638555"/>
                  </a:lnTo>
                  <a:lnTo>
                    <a:pt x="1341119" y="676655"/>
                  </a:lnTo>
                  <a:lnTo>
                    <a:pt x="1312163" y="690371"/>
                  </a:lnTo>
                  <a:lnTo>
                    <a:pt x="1303019" y="693419"/>
                  </a:lnTo>
                  <a:lnTo>
                    <a:pt x="1292351" y="694943"/>
                  </a:lnTo>
                  <a:lnTo>
                    <a:pt x="1343405" y="694943"/>
                  </a:lnTo>
                  <a:lnTo>
                    <a:pt x="1377695" y="665987"/>
                  </a:lnTo>
                  <a:lnTo>
                    <a:pt x="1400555" y="624839"/>
                  </a:lnTo>
                  <a:lnTo>
                    <a:pt x="1405127" y="600455"/>
                  </a:lnTo>
                  <a:lnTo>
                    <a:pt x="1405127" y="111251"/>
                  </a:lnTo>
                  <a:lnTo>
                    <a:pt x="1383791" y="54863"/>
                  </a:lnTo>
                  <a:lnTo>
                    <a:pt x="1350263" y="21336"/>
                  </a:lnTo>
                  <a:lnTo>
                    <a:pt x="1342262" y="16763"/>
                  </a:lnTo>
                  <a:close/>
                </a:path>
              </a:pathLst>
            </a:custGeom>
            <a:solidFill>
              <a:srgbClr val="BC9303"/>
            </a:solidFill>
          </p:spPr>
          <p:txBody>
            <a:bodyPr wrap="square" lIns="0" tIns="0" rIns="0" bIns="0" rtlCol="0"/>
            <a:lstStyle/>
            <a:p>
              <a:endParaRPr/>
            </a:p>
          </p:txBody>
        </p:sp>
      </p:grpSp>
      <p:sp>
        <p:nvSpPr>
          <p:cNvPr id="55" name="object 42">
            <a:extLst>
              <a:ext uri="{FF2B5EF4-FFF2-40B4-BE49-F238E27FC236}">
                <a16:creationId xmlns:a16="http://schemas.microsoft.com/office/drawing/2014/main" id="{7C788CEF-01FE-2A58-1619-EC92208C911F}"/>
              </a:ext>
            </a:extLst>
          </p:cNvPr>
          <p:cNvSpPr txBox="1"/>
          <p:nvPr/>
        </p:nvSpPr>
        <p:spPr>
          <a:xfrm>
            <a:off x="4067541" y="3188926"/>
            <a:ext cx="1134110" cy="506730"/>
          </a:xfrm>
          <a:prstGeom prst="rect">
            <a:avLst/>
          </a:prstGeom>
        </p:spPr>
        <p:txBody>
          <a:bodyPr vert="horz" wrap="square" lIns="0" tIns="13335" rIns="0" bIns="0" rtlCol="0">
            <a:spAutoFit/>
          </a:bodyPr>
          <a:lstStyle/>
          <a:p>
            <a:pPr marL="12700" marR="5080" indent="1270" algn="ctr">
              <a:lnSpc>
                <a:spcPct val="100000"/>
              </a:lnSpc>
              <a:spcBef>
                <a:spcPts val="105"/>
              </a:spcBef>
            </a:pPr>
            <a:r>
              <a:rPr sz="1050" spc="-10" dirty="0">
                <a:solidFill>
                  <a:srgbClr val="CD8C3D"/>
                </a:solidFill>
                <a:latin typeface="Corbel"/>
                <a:cs typeface="Corbel"/>
              </a:rPr>
              <a:t>Tutte </a:t>
            </a:r>
            <a:r>
              <a:rPr sz="1050" spc="-5" dirty="0">
                <a:solidFill>
                  <a:srgbClr val="CD8C3D"/>
                </a:solidFill>
                <a:latin typeface="Corbel"/>
                <a:cs typeface="Corbel"/>
              </a:rPr>
              <a:t>la fasi </a:t>
            </a:r>
            <a:r>
              <a:rPr sz="1050" dirty="0">
                <a:solidFill>
                  <a:srgbClr val="CD8C3D"/>
                </a:solidFill>
                <a:latin typeface="Corbel"/>
                <a:cs typeface="Corbel"/>
              </a:rPr>
              <a:t>sono </a:t>
            </a:r>
            <a:r>
              <a:rPr sz="1050" spc="5" dirty="0">
                <a:solidFill>
                  <a:srgbClr val="CD8C3D"/>
                </a:solidFill>
                <a:latin typeface="Corbel"/>
                <a:cs typeface="Corbel"/>
              </a:rPr>
              <a:t> </a:t>
            </a:r>
            <a:r>
              <a:rPr sz="1050" spc="-5" dirty="0">
                <a:solidFill>
                  <a:srgbClr val="CD8C3D"/>
                </a:solidFill>
                <a:latin typeface="Corbel"/>
                <a:cs typeface="Corbel"/>
              </a:rPr>
              <a:t>a</a:t>
            </a:r>
            <a:r>
              <a:rPr sz="1050" spc="-10" dirty="0">
                <a:solidFill>
                  <a:srgbClr val="CD8C3D"/>
                </a:solidFill>
                <a:latin typeface="Corbel"/>
                <a:cs typeface="Corbel"/>
              </a:rPr>
              <a:t>c</a:t>
            </a:r>
            <a:r>
              <a:rPr sz="1050" dirty="0">
                <a:solidFill>
                  <a:srgbClr val="CD8C3D"/>
                </a:solidFill>
                <a:latin typeface="Corbel"/>
                <a:cs typeface="Corbel"/>
              </a:rPr>
              <a:t>c</a:t>
            </a:r>
            <a:r>
              <a:rPr sz="1050" spc="-5" dirty="0">
                <a:solidFill>
                  <a:srgbClr val="CD8C3D"/>
                </a:solidFill>
                <a:latin typeface="Corbel"/>
                <a:cs typeface="Corbel"/>
              </a:rPr>
              <a:t>om</a:t>
            </a:r>
            <a:r>
              <a:rPr sz="1050" dirty="0">
                <a:solidFill>
                  <a:srgbClr val="CD8C3D"/>
                </a:solidFill>
                <a:latin typeface="Corbel"/>
                <a:cs typeface="Corbel"/>
              </a:rPr>
              <a:t>p</a:t>
            </a:r>
            <a:r>
              <a:rPr sz="1050" spc="-5" dirty="0">
                <a:solidFill>
                  <a:srgbClr val="CD8C3D"/>
                </a:solidFill>
                <a:latin typeface="Corbel"/>
                <a:cs typeface="Corbel"/>
              </a:rPr>
              <a:t>a</a:t>
            </a:r>
            <a:r>
              <a:rPr sz="1050" dirty="0">
                <a:solidFill>
                  <a:srgbClr val="CD8C3D"/>
                </a:solidFill>
                <a:latin typeface="Corbel"/>
                <a:cs typeface="Corbel"/>
              </a:rPr>
              <a:t>g</a:t>
            </a:r>
            <a:r>
              <a:rPr sz="1050" spc="-5" dirty="0">
                <a:solidFill>
                  <a:srgbClr val="CD8C3D"/>
                </a:solidFill>
                <a:latin typeface="Corbel"/>
                <a:cs typeface="Corbel"/>
              </a:rPr>
              <a:t>na</a:t>
            </a:r>
            <a:r>
              <a:rPr sz="1050" spc="5" dirty="0">
                <a:solidFill>
                  <a:srgbClr val="CD8C3D"/>
                </a:solidFill>
                <a:latin typeface="Corbel"/>
                <a:cs typeface="Corbel"/>
              </a:rPr>
              <a:t>t</a:t>
            </a:r>
            <a:r>
              <a:rPr sz="1050" dirty="0">
                <a:solidFill>
                  <a:srgbClr val="CD8C3D"/>
                </a:solidFill>
                <a:latin typeface="Corbel"/>
                <a:cs typeface="Corbel"/>
              </a:rPr>
              <a:t>e</a:t>
            </a:r>
            <a:r>
              <a:rPr sz="1050" spc="-45" dirty="0">
                <a:solidFill>
                  <a:srgbClr val="CD8C3D"/>
                </a:solidFill>
                <a:latin typeface="Corbel"/>
                <a:cs typeface="Corbel"/>
              </a:rPr>
              <a:t> </a:t>
            </a:r>
            <a:r>
              <a:rPr sz="1050" spc="-5" dirty="0">
                <a:solidFill>
                  <a:srgbClr val="CD8C3D"/>
                </a:solidFill>
                <a:latin typeface="Corbel"/>
                <a:cs typeface="Corbel"/>
              </a:rPr>
              <a:t>da</a:t>
            </a:r>
            <a:r>
              <a:rPr sz="1050" spc="-10" dirty="0">
                <a:solidFill>
                  <a:srgbClr val="CD8C3D"/>
                </a:solidFill>
                <a:latin typeface="Corbel"/>
                <a:cs typeface="Corbel"/>
              </a:rPr>
              <a:t>ll</a:t>
            </a:r>
            <a:r>
              <a:rPr sz="1050" dirty="0">
                <a:solidFill>
                  <a:srgbClr val="CD8C3D"/>
                </a:solidFill>
                <a:latin typeface="Corbel"/>
                <a:cs typeface="Corbel"/>
              </a:rPr>
              <a:t>a  </a:t>
            </a:r>
            <a:r>
              <a:rPr sz="1050" spc="-5" dirty="0">
                <a:solidFill>
                  <a:srgbClr val="CD8C3D"/>
                </a:solidFill>
                <a:latin typeface="Corbel"/>
                <a:cs typeface="Corbel"/>
              </a:rPr>
              <a:t>documentazione</a:t>
            </a:r>
            <a:endParaRPr sz="1050">
              <a:latin typeface="Corbel"/>
              <a:cs typeface="Corbel"/>
            </a:endParaRPr>
          </a:p>
        </p:txBody>
      </p:sp>
      <p:sp>
        <p:nvSpPr>
          <p:cNvPr id="56" name="object 43">
            <a:extLst>
              <a:ext uri="{FF2B5EF4-FFF2-40B4-BE49-F238E27FC236}">
                <a16:creationId xmlns:a16="http://schemas.microsoft.com/office/drawing/2014/main" id="{08723A33-A49A-A7A9-00C1-C8806A700663}"/>
              </a:ext>
            </a:extLst>
          </p:cNvPr>
          <p:cNvSpPr txBox="1"/>
          <p:nvPr/>
        </p:nvSpPr>
        <p:spPr>
          <a:xfrm>
            <a:off x="4064160" y="5085109"/>
            <a:ext cx="1637664" cy="738022"/>
          </a:xfrm>
          <a:prstGeom prst="rect">
            <a:avLst/>
          </a:prstGeom>
        </p:spPr>
        <p:txBody>
          <a:bodyPr vert="horz" wrap="square" lIns="0" tIns="29209" rIns="0" bIns="0" rtlCol="0">
            <a:spAutoFit/>
          </a:bodyPr>
          <a:lstStyle/>
          <a:p>
            <a:pPr marL="76200" marR="658495" indent="-32384">
              <a:lnSpc>
                <a:spcPct val="92700"/>
              </a:lnSpc>
              <a:spcBef>
                <a:spcPts val="229"/>
              </a:spcBef>
            </a:pPr>
            <a:r>
              <a:rPr sz="1300" b="1" spc="5" dirty="0">
                <a:latin typeface="Corbel"/>
                <a:cs typeface="Corbel"/>
              </a:rPr>
              <a:t>3.</a:t>
            </a:r>
            <a:r>
              <a:rPr sz="1300" b="1" spc="-45" dirty="0">
                <a:latin typeface="Corbel"/>
                <a:cs typeface="Corbel"/>
              </a:rPr>
              <a:t> </a:t>
            </a:r>
            <a:r>
              <a:rPr sz="1300" b="1" dirty="0">
                <a:latin typeface="Corbel"/>
                <a:cs typeface="Corbel"/>
              </a:rPr>
              <a:t>Svi</a:t>
            </a:r>
            <a:r>
              <a:rPr sz="1300" b="1" spc="5" dirty="0">
                <a:latin typeface="Corbel"/>
                <a:cs typeface="Corbel"/>
              </a:rPr>
              <a:t>lu</a:t>
            </a:r>
            <a:r>
              <a:rPr sz="1300" b="1" dirty="0">
                <a:latin typeface="Corbel"/>
                <a:cs typeface="Corbel"/>
              </a:rPr>
              <a:t>pp</a:t>
            </a:r>
            <a:r>
              <a:rPr sz="1300" b="1" spc="10" dirty="0">
                <a:latin typeface="Corbel"/>
                <a:cs typeface="Corbel"/>
              </a:rPr>
              <a:t>a</a:t>
            </a:r>
            <a:r>
              <a:rPr sz="1300" b="1" spc="-5" dirty="0">
                <a:latin typeface="Corbel"/>
                <a:cs typeface="Corbel"/>
              </a:rPr>
              <a:t>r</a:t>
            </a:r>
            <a:r>
              <a:rPr sz="1300" b="1" spc="5" dirty="0">
                <a:latin typeface="Corbel"/>
                <a:cs typeface="Corbel"/>
              </a:rPr>
              <a:t>e  </a:t>
            </a:r>
            <a:r>
              <a:rPr sz="1300" b="1" spc="-5" dirty="0">
                <a:latin typeface="Corbel"/>
                <a:cs typeface="Corbel"/>
              </a:rPr>
              <a:t>l’azione </a:t>
            </a:r>
            <a:r>
              <a:rPr sz="1300" b="1" spc="10" dirty="0">
                <a:latin typeface="Corbel"/>
                <a:cs typeface="Corbel"/>
              </a:rPr>
              <a:t>e </a:t>
            </a:r>
            <a:r>
              <a:rPr sz="1300" b="1" spc="15" dirty="0">
                <a:latin typeface="Corbel"/>
                <a:cs typeface="Corbel"/>
              </a:rPr>
              <a:t> </a:t>
            </a:r>
            <a:r>
              <a:rPr sz="1300" b="1" dirty="0" err="1">
                <a:latin typeface="Corbel"/>
                <a:cs typeface="Corbel"/>
              </a:rPr>
              <a:t>raccogliere</a:t>
            </a:r>
            <a:r>
              <a:rPr sz="1300" b="1" spc="-45" dirty="0">
                <a:latin typeface="Corbel"/>
                <a:cs typeface="Corbel"/>
              </a:rPr>
              <a:t> </a:t>
            </a:r>
            <a:r>
              <a:rPr sz="1300" b="1" spc="5" dirty="0" err="1">
                <a:latin typeface="Corbel"/>
                <a:cs typeface="Corbel"/>
              </a:rPr>
              <a:t>i</a:t>
            </a:r>
            <a:r>
              <a:rPr lang="it-IT" sz="1050" b="1" spc="5" dirty="0">
                <a:latin typeface="Corbel"/>
                <a:cs typeface="Corbel"/>
              </a:rPr>
              <a:t> dati</a:t>
            </a:r>
            <a:endParaRPr sz="1300" dirty="0">
              <a:latin typeface="Corbel"/>
              <a:cs typeface="Corbel"/>
            </a:endParaRPr>
          </a:p>
        </p:txBody>
      </p:sp>
    </p:spTree>
    <p:extLst>
      <p:ext uri="{BB962C8B-B14F-4D97-AF65-F5344CB8AC3E}">
        <p14:creationId xmlns:p14="http://schemas.microsoft.com/office/powerpoint/2010/main" val="288778996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0243ACF1-4E86-B612-5993-C7373976941E}"/>
              </a:ext>
            </a:extLst>
          </p:cNvPr>
          <p:cNvGraphicFramePr>
            <a:graphicFrameLocks noChangeAspect="1"/>
          </p:cNvGraphicFramePr>
          <p:nvPr>
            <p:custDataLst>
              <p:tags r:id="rId1"/>
            </p:custDataLst>
            <p:extLst>
              <p:ext uri="{D42A27DB-BD31-4B8C-83A1-F6EECF244321}">
                <p14:modId xmlns:p14="http://schemas.microsoft.com/office/powerpoint/2010/main" val="361564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olo 1" descr="titolo">
            <a:extLst>
              <a:ext uri="{FF2B5EF4-FFF2-40B4-BE49-F238E27FC236}">
                <a16:creationId xmlns:a16="http://schemas.microsoft.com/office/drawing/2014/main" id="{28BAA8DA-C40B-4AB9-9407-30FB70335152}"/>
              </a:ext>
            </a:extLst>
          </p:cNvPr>
          <p:cNvSpPr>
            <a:spLocks noGrp="1"/>
          </p:cNvSpPr>
          <p:nvPr>
            <p:ph type="ctrTitle"/>
          </p:nvPr>
        </p:nvSpPr>
        <p:spPr/>
        <p:txBody>
          <a:bodyPr vert="horz" rtlCol="0"/>
          <a:lstStyle/>
          <a:p>
            <a:pPr rtl="0"/>
            <a:r>
              <a:rPr lang="it-IT" dirty="0"/>
              <a:t>Abbandonare traiettorie predefinite e  RICERCARE la strada</a:t>
            </a:r>
          </a:p>
        </p:txBody>
      </p:sp>
      <p:sp>
        <p:nvSpPr>
          <p:cNvPr id="12" name="Sottotitolo 11" descr="sottotitolo">
            <a:extLst>
              <a:ext uri="{FF2B5EF4-FFF2-40B4-BE49-F238E27FC236}">
                <a16:creationId xmlns:a16="http://schemas.microsoft.com/office/drawing/2014/main" id="{B28A8D9C-5123-4D2B-9272-016EF90E0E50}"/>
              </a:ext>
            </a:extLst>
          </p:cNvPr>
          <p:cNvSpPr>
            <a:spLocks noGrp="1"/>
          </p:cNvSpPr>
          <p:nvPr>
            <p:ph type="subTitle" idx="1"/>
          </p:nvPr>
        </p:nvSpPr>
        <p:spPr/>
        <p:txBody>
          <a:bodyPr rtlCol="0"/>
          <a:lstStyle/>
          <a:p>
            <a:pPr rtl="0"/>
            <a:r>
              <a:rPr lang="it-IT" dirty="0"/>
              <a:t>"Il regno dell'autonomia comincia là  dove finisce il regno della certezza.  Gli esseri umani possono essere o  autonomi o sicuri di sé: raramente le due cose  insieme."</a:t>
            </a:r>
          </a:p>
          <a:p>
            <a:pPr rtl="0"/>
            <a:r>
              <a:rPr lang="it-IT" dirty="0"/>
              <a:t>(Z. Bauman)</a:t>
            </a:r>
          </a:p>
        </p:txBody>
      </p:sp>
      <p:pic>
        <p:nvPicPr>
          <p:cNvPr id="14" name="Segnaposto immagine 13">
            <a:extLst>
              <a:ext uri="{FF2B5EF4-FFF2-40B4-BE49-F238E27FC236}">
                <a16:creationId xmlns:a16="http://schemas.microsoft.com/office/drawing/2014/main" id="{E983D85E-34D8-430D-875F-7EBB69A6B73E}"/>
              </a:ext>
            </a:extLst>
          </p:cNvPr>
          <p:cNvPicPr>
            <a:picLocks noGrp="1" noChangeAspect="1"/>
          </p:cNvPicPr>
          <p:nvPr>
            <p:ph type="pic" sz="quarter" idx="10"/>
          </p:nvPr>
        </p:nvPicPr>
        <p:blipFill>
          <a:blip r:embed="rId6"/>
          <a:srcRect/>
          <a:stretch/>
        </p:blipFill>
        <p:spPr/>
      </p:pic>
      <p:grpSp>
        <p:nvGrpSpPr>
          <p:cNvPr id="4" name="Gruppo 3">
            <a:extLst>
              <a:ext uri="{FF2B5EF4-FFF2-40B4-BE49-F238E27FC236}">
                <a16:creationId xmlns:a16="http://schemas.microsoft.com/office/drawing/2014/main" id="{EB664AAE-5AE9-41D7-8346-002B9F445323}"/>
              </a:ext>
              <a:ext uri="{C183D7F6-B498-43B3-948B-1728B52AA6E4}">
                <adec:decorative xmlns:adec="http://schemas.microsoft.com/office/drawing/2017/decorative" val="1"/>
              </a:ext>
            </a:extLst>
          </p:cNvPr>
          <p:cNvGrpSpPr/>
          <p:nvPr/>
        </p:nvGrpSpPr>
        <p:grpSpPr>
          <a:xfrm>
            <a:off x="-3740" y="0"/>
            <a:ext cx="6208649" cy="6858000"/>
            <a:chOff x="-3740" y="0"/>
            <a:chExt cx="6208649" cy="6858000"/>
          </a:xfrm>
        </p:grpSpPr>
        <p:sp>
          <p:nvSpPr>
            <p:cNvPr id="11" name="Figura a mano libera: Forma 10">
              <a:extLst>
                <a:ext uri="{FF2B5EF4-FFF2-40B4-BE49-F238E27FC236}">
                  <a16:creationId xmlns:a16="http://schemas.microsoft.com/office/drawing/2014/main" id="{927C3783-B800-4093-BB0D-D5AEF08C3B59}"/>
                </a:ext>
              </a:extLst>
            </p:cNvPr>
            <p:cNvSpPr/>
            <p:nvPr/>
          </p:nvSpPr>
          <p:spPr>
            <a:xfrm>
              <a:off x="-3740" y="0"/>
              <a:ext cx="6208649" cy="6858000"/>
            </a:xfrm>
            <a:custGeom>
              <a:avLst/>
              <a:gdLst>
                <a:gd name="connsiteX0" fmla="*/ 0 w 6208649"/>
                <a:gd name="connsiteY0" fmla="*/ 0 h 6858000"/>
                <a:gd name="connsiteX1" fmla="*/ 6208649 w 6208649"/>
                <a:gd name="connsiteY1" fmla="*/ 0 h 6858000"/>
                <a:gd name="connsiteX2" fmla="*/ 2737815 w 6208649"/>
                <a:gd name="connsiteY2" fmla="*/ 6858000 h 6858000"/>
                <a:gd name="connsiteX3" fmla="*/ 0 w 620864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08649" h="6858000">
                  <a:moveTo>
                    <a:pt x="0" y="0"/>
                  </a:moveTo>
                  <a:lnTo>
                    <a:pt x="6208649" y="0"/>
                  </a:lnTo>
                  <a:lnTo>
                    <a:pt x="2737815" y="6858000"/>
                  </a:lnTo>
                  <a:lnTo>
                    <a:pt x="0" y="6858000"/>
                  </a:lnTo>
                  <a:close/>
                </a:path>
              </a:pathLst>
            </a:custGeom>
            <a:solidFill>
              <a:schemeClr val="bg1">
                <a:lumMod val="95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9" name="Rettangolo 8">
              <a:extLst>
                <a:ext uri="{FF2B5EF4-FFF2-40B4-BE49-F238E27FC236}">
                  <a16:creationId xmlns:a16="http://schemas.microsoft.com/office/drawing/2014/main" id="{B576E978-A841-4A4F-B153-CC369D9391D3}"/>
                </a:ext>
              </a:extLst>
            </p:cNvPr>
            <p:cNvSpPr/>
            <p:nvPr/>
          </p:nvSpPr>
          <p:spPr>
            <a:xfrm>
              <a:off x="1451429" y="0"/>
              <a:ext cx="3222172" cy="6858000"/>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Tree>
    <p:extLst>
      <p:ext uri="{BB962C8B-B14F-4D97-AF65-F5344CB8AC3E}">
        <p14:creationId xmlns:p14="http://schemas.microsoft.com/office/powerpoint/2010/main" val="41987735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ggetto 11" hidden="1">
            <a:extLst>
              <a:ext uri="{FF2B5EF4-FFF2-40B4-BE49-F238E27FC236}">
                <a16:creationId xmlns:a16="http://schemas.microsoft.com/office/drawing/2014/main" id="{339E7B20-A5FB-10F7-A6FE-A4C14C115B08}"/>
              </a:ext>
            </a:extLst>
          </p:cNvPr>
          <p:cNvGraphicFramePr>
            <a:graphicFrameLocks noChangeAspect="1"/>
          </p:cNvGraphicFramePr>
          <p:nvPr>
            <p:custDataLst>
              <p:tags r:id="rId1"/>
            </p:custDataLst>
            <p:extLst>
              <p:ext uri="{D42A27DB-BD31-4B8C-83A1-F6EECF244321}">
                <p14:modId xmlns:p14="http://schemas.microsoft.com/office/powerpoint/2010/main" val="1083043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12" name="Oggetto 11" hidden="1">
                        <a:extLst>
                          <a:ext uri="{FF2B5EF4-FFF2-40B4-BE49-F238E27FC236}">
                            <a16:creationId xmlns:a16="http://schemas.microsoft.com/office/drawing/2014/main" id="{339E7B20-A5FB-10F7-A6FE-A4C14C115B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a:extLst>
              <a:ext uri="{FF2B5EF4-FFF2-40B4-BE49-F238E27FC236}">
                <a16:creationId xmlns:a16="http://schemas.microsoft.com/office/drawing/2014/main" id="{3C2A7DCB-B005-424A-8446-ACA533D0BC8B}"/>
              </a:ext>
            </a:extLst>
          </p:cNvPr>
          <p:cNvPicPr>
            <a:picLocks noGrp="1" noChangeAspect="1"/>
          </p:cNvPicPr>
          <p:nvPr>
            <p:ph type="pic" sz="quarter" idx="10"/>
          </p:nvPr>
        </p:nvPicPr>
        <p:blipFill>
          <a:blip r:embed="rId6"/>
          <a:srcRect/>
          <a:stretch/>
        </p:blipFill>
        <p:spPr>
          <a:xfrm>
            <a:off x="6836125" y="23648"/>
            <a:ext cx="5355875" cy="6858000"/>
          </a:xfrm>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627378" y="23648"/>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a:xfrm>
            <a:off x="633186" y="581087"/>
            <a:ext cx="6891564" cy="830997"/>
          </a:xfrm>
        </p:spPr>
        <p:txBody>
          <a:bodyPr vert="horz" rtlCol="0"/>
          <a:lstStyle/>
          <a:p>
            <a:pPr rtl="0"/>
            <a:r>
              <a:rPr lang="it-IT" dirty="0"/>
              <a:t>Aspetti qualificanti della ricerca-azione</a:t>
            </a:r>
          </a:p>
        </p:txBody>
      </p:sp>
      <p:pic>
        <p:nvPicPr>
          <p:cNvPr id="35" name="Segnaposto contenuto 34" descr="Libro aperto">
            <a:extLst>
              <a:ext uri="{FF2B5EF4-FFF2-40B4-BE49-F238E27FC236}">
                <a16:creationId xmlns:a16="http://schemas.microsoft.com/office/drawing/2014/main" id="{56174A3F-A7B3-40BE-88BD-1796890E4B44}"/>
              </a:ext>
            </a:extLst>
          </p:cNvPr>
          <p:cNvPicPr>
            <a:picLocks noGrp="1" noChangeAspect="1"/>
          </p:cNvPicPr>
          <p:nvPr>
            <p:ph sz="quarter" idx="13"/>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503" y="1412084"/>
            <a:ext cx="548640" cy="548640"/>
          </a:xfrm>
        </p:spPr>
      </p:pic>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a:xfrm>
            <a:off x="673099" y="1027065"/>
            <a:ext cx="7676493" cy="3368675"/>
          </a:xfrm>
        </p:spPr>
        <p:txBody>
          <a:bodyPr rtlCol="0"/>
          <a:lstStyle/>
          <a:p>
            <a:pPr marL="285750" indent="-285750" rtl="0">
              <a:buClr>
                <a:srgbClr val="B2606E"/>
              </a:buClr>
              <a:buFont typeface="Arial" panose="020B0604020202020204" pitchFamily="34" charset="0"/>
              <a:buChar char="•"/>
            </a:pPr>
            <a:r>
              <a:rPr lang="it-IT" dirty="0"/>
              <a:t>Azione</a:t>
            </a:r>
          </a:p>
          <a:p>
            <a:pPr marL="285750" indent="-285750" rtl="0">
              <a:buClr>
                <a:srgbClr val="B2606E"/>
              </a:buClr>
              <a:buFont typeface="Arial" panose="020B0604020202020204" pitchFamily="34" charset="0"/>
              <a:buChar char="•"/>
            </a:pPr>
            <a:r>
              <a:rPr lang="it-IT" dirty="0"/>
              <a:t>Circolarità  teoria-prassi</a:t>
            </a:r>
          </a:p>
          <a:p>
            <a:pPr marL="285750" indent="-285750" rtl="0">
              <a:buClr>
                <a:srgbClr val="B2606E"/>
              </a:buClr>
              <a:buFont typeface="Arial" panose="020B0604020202020204" pitchFamily="34" charset="0"/>
              <a:buChar char="•"/>
            </a:pPr>
            <a:r>
              <a:rPr lang="it-IT" dirty="0"/>
              <a:t>Apprendimento sociale</a:t>
            </a:r>
          </a:p>
          <a:p>
            <a:pPr marL="285750" indent="-285750" rtl="0">
              <a:buClr>
                <a:srgbClr val="B2606E"/>
              </a:buClr>
              <a:buFont typeface="Arial" panose="020B0604020202020204" pitchFamily="34" charset="0"/>
              <a:buChar char="•"/>
            </a:pPr>
            <a:r>
              <a:rPr lang="it-IT" dirty="0" err="1"/>
              <a:t>Metariflessione</a:t>
            </a:r>
            <a:endParaRPr lang="it-IT" dirty="0"/>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79408"/>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110127"/>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44" name="Segnaposto numero diapositiva 5" descr="Numero diapositiva">
            <a:extLst>
              <a:ext uri="{FF2B5EF4-FFF2-40B4-BE49-F238E27FC236}">
                <a16:creationId xmlns:a16="http://schemas.microsoft.com/office/drawing/2014/main" id="{11457662-C1A5-4B93-8E30-88025E27C462}"/>
              </a:ext>
              <a:ext uri="{C183D7F6-B498-43B3-948B-1728B52AA6E4}">
                <adec:decorative xmlns:adec="http://schemas.microsoft.com/office/drawing/2017/decorative" val="0"/>
              </a:ext>
            </a:extLst>
          </p:cNvPr>
          <p:cNvSpPr txBox="1">
            <a:spLocks/>
          </p:cNvSpPr>
          <p:nvPr/>
        </p:nvSpPr>
        <p:spPr>
          <a:xfrm>
            <a:off x="11091210" y="6212993"/>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33</a:t>
            </a:fld>
            <a:endParaRPr lang="it-IT" sz="1200">
              <a:solidFill>
                <a:schemeClr val="bg1"/>
              </a:solidFill>
            </a:endParaRPr>
          </a:p>
        </p:txBody>
      </p:sp>
      <p:sp>
        <p:nvSpPr>
          <p:cNvPr id="8" name="Titolo 3" descr="Titolo">
            <a:extLst>
              <a:ext uri="{FF2B5EF4-FFF2-40B4-BE49-F238E27FC236}">
                <a16:creationId xmlns:a16="http://schemas.microsoft.com/office/drawing/2014/main" id="{71F1B828-048F-E51F-C827-DD075DA4B75D}"/>
              </a:ext>
            </a:extLst>
          </p:cNvPr>
          <p:cNvSpPr txBox="1">
            <a:spLocks/>
          </p:cNvSpPr>
          <p:nvPr/>
        </p:nvSpPr>
        <p:spPr>
          <a:xfrm>
            <a:off x="621190" y="2419260"/>
            <a:ext cx="6891564" cy="830997"/>
          </a:xfrm>
          <a:prstGeom prst="rect">
            <a:avLst/>
          </a:prstGeom>
        </p:spPr>
        <p:txBody>
          <a:bodyPr vert="horz" wrap="square" lIns="0" tIns="45720" rIns="91440" bIns="45720" rtlCol="0" anchor="t">
            <a:noAutofit/>
          </a:bodyPr>
          <a:lstStyle>
            <a:lvl1pPr algn="l" defTabSz="914400" rtl="0" eaLnBrk="1" latinLnBrk="0" hangingPunct="1">
              <a:lnSpc>
                <a:spcPct val="90000"/>
              </a:lnSpc>
              <a:spcBef>
                <a:spcPct val="0"/>
              </a:spcBef>
              <a:buNone/>
              <a:defRPr lang="en-GB" sz="2400" kern="1200">
                <a:solidFill>
                  <a:schemeClr val="tx1"/>
                </a:solidFill>
                <a:latin typeface="Corbel" panose="020B0503020204020204" pitchFamily="34" charset="0"/>
                <a:ea typeface="+mj-ea"/>
                <a:cs typeface="+mj-cs"/>
              </a:defRPr>
            </a:lvl1pPr>
          </a:lstStyle>
          <a:p>
            <a:r>
              <a:rPr lang="it-IT" dirty="0"/>
              <a:t>Progettazione</a:t>
            </a:r>
            <a:r>
              <a:rPr lang="it-IT" spc="-35" dirty="0"/>
              <a:t> </a:t>
            </a:r>
            <a:r>
              <a:rPr lang="it-IT" spc="-5" dirty="0"/>
              <a:t>di </a:t>
            </a:r>
            <a:r>
              <a:rPr lang="it-IT" dirty="0"/>
              <a:t>un</a:t>
            </a:r>
            <a:r>
              <a:rPr lang="it-IT" spc="-15" dirty="0"/>
              <a:t> </a:t>
            </a:r>
            <a:r>
              <a:rPr lang="it-IT" dirty="0"/>
              <a:t>percorso</a:t>
            </a:r>
            <a:r>
              <a:rPr lang="it-IT" spc="-5" dirty="0"/>
              <a:t> di </a:t>
            </a:r>
            <a:r>
              <a:rPr lang="it-IT" spc="5" dirty="0"/>
              <a:t>ricerca-azione</a:t>
            </a:r>
            <a:endParaRPr lang="it-IT" dirty="0"/>
          </a:p>
        </p:txBody>
      </p:sp>
      <p:graphicFrame>
        <p:nvGraphicFramePr>
          <p:cNvPr id="17" name="Tabella 16">
            <a:extLst>
              <a:ext uri="{FF2B5EF4-FFF2-40B4-BE49-F238E27FC236}">
                <a16:creationId xmlns:a16="http://schemas.microsoft.com/office/drawing/2014/main" id="{B7121915-2513-ABD7-EB5D-FFF81E9EC60B}"/>
              </a:ext>
            </a:extLst>
          </p:cNvPr>
          <p:cNvGraphicFramePr>
            <a:graphicFrameLocks noGrp="1"/>
          </p:cNvGraphicFramePr>
          <p:nvPr>
            <p:extLst>
              <p:ext uri="{D42A27DB-BD31-4B8C-83A1-F6EECF244321}">
                <p14:modId xmlns:p14="http://schemas.microsoft.com/office/powerpoint/2010/main" val="2011764157"/>
              </p:ext>
            </p:extLst>
          </p:nvPr>
        </p:nvGraphicFramePr>
        <p:xfrm>
          <a:off x="110855" y="2967733"/>
          <a:ext cx="8917531" cy="3302809"/>
        </p:xfrm>
        <a:graphic>
          <a:graphicData uri="http://schemas.openxmlformats.org/drawingml/2006/table">
            <a:tbl>
              <a:tblPr firstRow="1" bandRow="1">
                <a:tableStyleId>{E8B1032C-EA38-4F05-BA0D-38AFFFC7BED3}</a:tableStyleId>
              </a:tblPr>
              <a:tblGrid>
                <a:gridCol w="3013753">
                  <a:extLst>
                    <a:ext uri="{9D8B030D-6E8A-4147-A177-3AD203B41FA5}">
                      <a16:colId xmlns:a16="http://schemas.microsoft.com/office/drawing/2014/main" val="1851194403"/>
                    </a:ext>
                  </a:extLst>
                </a:gridCol>
                <a:gridCol w="1329384">
                  <a:extLst>
                    <a:ext uri="{9D8B030D-6E8A-4147-A177-3AD203B41FA5}">
                      <a16:colId xmlns:a16="http://schemas.microsoft.com/office/drawing/2014/main" val="326409999"/>
                    </a:ext>
                  </a:extLst>
                </a:gridCol>
                <a:gridCol w="1548075">
                  <a:extLst>
                    <a:ext uri="{9D8B030D-6E8A-4147-A177-3AD203B41FA5}">
                      <a16:colId xmlns:a16="http://schemas.microsoft.com/office/drawing/2014/main" val="2184518545"/>
                    </a:ext>
                  </a:extLst>
                </a:gridCol>
                <a:gridCol w="1552297">
                  <a:extLst>
                    <a:ext uri="{9D8B030D-6E8A-4147-A177-3AD203B41FA5}">
                      <a16:colId xmlns:a16="http://schemas.microsoft.com/office/drawing/2014/main" val="1997971281"/>
                    </a:ext>
                  </a:extLst>
                </a:gridCol>
                <a:gridCol w="1474022">
                  <a:extLst>
                    <a:ext uri="{9D8B030D-6E8A-4147-A177-3AD203B41FA5}">
                      <a16:colId xmlns:a16="http://schemas.microsoft.com/office/drawing/2014/main" val="3218837446"/>
                    </a:ext>
                  </a:extLst>
                </a:gridCol>
              </a:tblGrid>
              <a:tr h="0">
                <a:tc gridSpan="5">
                  <a:txBody>
                    <a:bodyPr/>
                    <a:lstStyle/>
                    <a:p>
                      <a:pPr algn="ctr" rtl="0"/>
                      <a:r>
                        <a:rPr lang="it-IT" noProof="0" dirty="0">
                          <a:solidFill>
                            <a:schemeClr val="bg1"/>
                          </a:solidFill>
                          <a:latin typeface="+mj-lt"/>
                        </a:rPr>
                        <a:t>Fase</a:t>
                      </a:r>
                    </a:p>
                  </a:txBody>
                  <a:tcPr anchor="ctr">
                    <a:solidFill>
                      <a:schemeClr val="accent2"/>
                    </a:solidFill>
                  </a:tcPr>
                </a:tc>
                <a:tc hMerge="1">
                  <a:txBody>
                    <a:bodyPr/>
                    <a:lstStyle/>
                    <a:p>
                      <a:pPr algn="ctr" rtl="0"/>
                      <a:r>
                        <a:rPr lang="it-IT" b="1" noProof="0" dirty="0">
                          <a:solidFill>
                            <a:schemeClr val="bg1"/>
                          </a:solidFill>
                          <a:latin typeface="+mj-lt"/>
                        </a:rPr>
                        <a:t>Attività di ricerca, di laboratorio, di sperimentazione</a:t>
                      </a:r>
                    </a:p>
                  </a:txBody>
                  <a:tcPr anchor="ctr">
                    <a:solidFill>
                      <a:schemeClr val="accent2"/>
                    </a:solidFill>
                  </a:tcPr>
                </a:tc>
                <a:tc hMerge="1">
                  <a:txBody>
                    <a:bodyPr/>
                    <a:lstStyle/>
                    <a:p>
                      <a:pPr algn="ctr" rtl="0"/>
                      <a:r>
                        <a:rPr lang="it-IT" b="1" noProof="0" dirty="0">
                          <a:solidFill>
                            <a:schemeClr val="bg1"/>
                          </a:solidFill>
                          <a:latin typeface="+mj-lt"/>
                        </a:rPr>
                        <a:t>Produzione Documentazione Diffusione materiali</a:t>
                      </a:r>
                    </a:p>
                  </a:txBody>
                  <a:tcPr anchor="ctr">
                    <a:solidFill>
                      <a:schemeClr val="accent2"/>
                    </a:solidFill>
                  </a:tcPr>
                </a:tc>
                <a:tc hMerge="1">
                  <a:txBody>
                    <a:bodyPr/>
                    <a:lstStyle/>
                    <a:p>
                      <a:pPr algn="ctr" rtl="0"/>
                      <a:r>
                        <a:rPr lang="it-IT" b="1" noProof="0" dirty="0">
                          <a:solidFill>
                            <a:schemeClr val="bg1"/>
                          </a:solidFill>
                          <a:latin typeface="+mj-lt"/>
                        </a:rPr>
                        <a:t>Verifica Validazione</a:t>
                      </a:r>
                    </a:p>
                  </a:txBody>
                  <a:tcPr anchor="ctr">
                    <a:solidFill>
                      <a:schemeClr val="accent2"/>
                    </a:solidFill>
                  </a:tcPr>
                </a:tc>
                <a:tc hMerge="1">
                  <a:txBody>
                    <a:bodyPr/>
                    <a:lstStyle/>
                    <a:p>
                      <a:pPr algn="ctr" rtl="0"/>
                      <a:r>
                        <a:rPr lang="it-IT" b="1" noProof="0" dirty="0">
                          <a:solidFill>
                            <a:schemeClr val="bg1"/>
                          </a:solidFill>
                          <a:latin typeface="+mj-lt"/>
                        </a:rPr>
                        <a:t>Totale</a:t>
                      </a:r>
                    </a:p>
                  </a:txBody>
                  <a:tcPr anchor="ctr">
                    <a:solidFill>
                      <a:schemeClr val="accent2"/>
                    </a:solidFill>
                  </a:tcPr>
                </a:tc>
                <a:extLst>
                  <a:ext uri="{0D108BD9-81ED-4DB2-BD59-A6C34878D82A}">
                    <a16:rowId xmlns:a16="http://schemas.microsoft.com/office/drawing/2014/main" val="4265093295"/>
                  </a:ext>
                </a:extLst>
              </a:tr>
              <a:tr h="651049">
                <a:tc>
                  <a:txBody>
                    <a:bodyPr/>
                    <a:lstStyle/>
                    <a:p>
                      <a:pPr algn="ctr" rtl="0"/>
                      <a:r>
                        <a:rPr lang="it-IT" b="1" noProof="0" dirty="0">
                          <a:solidFill>
                            <a:schemeClr val="bg1"/>
                          </a:solidFill>
                          <a:latin typeface="+mj-lt"/>
                        </a:rPr>
                        <a:t>Ideativa</a:t>
                      </a:r>
                    </a:p>
                  </a:txBody>
                  <a:tcPr anchor="ctr">
                    <a:solidFill>
                      <a:schemeClr val="accent2"/>
                    </a:solidFill>
                  </a:tcPr>
                </a:tc>
                <a:tc>
                  <a:txBody>
                    <a:bodyPr/>
                    <a:lstStyle/>
                    <a:p>
                      <a:pPr algn="ctr" rtl="0"/>
                      <a:r>
                        <a:rPr lang="it-IT" b="1" noProof="0" dirty="0">
                          <a:solidFill>
                            <a:schemeClr val="bg1"/>
                          </a:solidFill>
                          <a:latin typeface="+mj-lt"/>
                        </a:rPr>
                        <a:t>Attuativa</a:t>
                      </a:r>
                    </a:p>
                  </a:txBody>
                  <a:tcPr anchor="ctr">
                    <a:solidFill>
                      <a:schemeClr val="accent2"/>
                    </a:solidFill>
                  </a:tcPr>
                </a:tc>
                <a:tc>
                  <a:txBody>
                    <a:bodyPr/>
                    <a:lstStyle/>
                    <a:p>
                      <a:pPr algn="ctr" rtl="0"/>
                      <a:r>
                        <a:rPr lang="it-IT" b="1" noProof="0" dirty="0">
                          <a:solidFill>
                            <a:schemeClr val="bg1"/>
                          </a:solidFill>
                          <a:latin typeface="+mj-lt"/>
                        </a:rPr>
                        <a:t>Valutativa</a:t>
                      </a:r>
                    </a:p>
                  </a:txBody>
                  <a:tcPr anchor="ctr">
                    <a:solidFill>
                      <a:schemeClr val="accent2"/>
                    </a:solidFill>
                  </a:tcPr>
                </a:tc>
                <a:tc>
                  <a:txBody>
                    <a:bodyPr/>
                    <a:lstStyle/>
                    <a:p>
                      <a:pPr algn="ctr" rtl="0"/>
                      <a:r>
                        <a:rPr lang="it-IT" b="1" noProof="0" dirty="0">
                          <a:solidFill>
                            <a:schemeClr val="bg1"/>
                          </a:solidFill>
                          <a:latin typeface="+mj-lt"/>
                        </a:rPr>
                        <a:t>Riflessiva</a:t>
                      </a:r>
                    </a:p>
                  </a:txBody>
                  <a:tcPr anchor="ctr">
                    <a:solidFill>
                      <a:schemeClr val="accent2"/>
                    </a:solidFill>
                  </a:tcPr>
                </a:tc>
                <a:tc>
                  <a:txBody>
                    <a:bodyPr/>
                    <a:lstStyle/>
                    <a:p>
                      <a:pPr algn="ctr" rtl="0"/>
                      <a:r>
                        <a:rPr lang="it-IT" b="1" noProof="0" dirty="0">
                          <a:solidFill>
                            <a:schemeClr val="bg1"/>
                          </a:solidFill>
                          <a:latin typeface="+mj-lt"/>
                        </a:rPr>
                        <a:t>Formale</a:t>
                      </a:r>
                    </a:p>
                  </a:txBody>
                  <a:tcPr anchor="ctr">
                    <a:solidFill>
                      <a:schemeClr val="accent2"/>
                    </a:solidFill>
                  </a:tcPr>
                </a:tc>
                <a:extLst>
                  <a:ext uri="{0D108BD9-81ED-4DB2-BD59-A6C34878D82A}">
                    <a16:rowId xmlns:a16="http://schemas.microsoft.com/office/drawing/2014/main" val="3982328093"/>
                  </a:ext>
                </a:extLst>
              </a:tr>
              <a:tr h="472333">
                <a:tc>
                  <a:txBody>
                    <a:bodyPr/>
                    <a:lstStyle/>
                    <a:p>
                      <a:pPr algn="l" rtl="0"/>
                      <a:r>
                        <a:rPr lang="it-IT" sz="1600" b="0" noProof="0" dirty="0"/>
                        <a:t>Dal problema e dai bisogni reali, all’idea.</a:t>
                      </a:r>
                    </a:p>
                    <a:p>
                      <a:pPr marL="285750" indent="-285750" algn="l" rtl="0">
                        <a:buClr>
                          <a:srgbClr val="B2606E"/>
                        </a:buClr>
                        <a:buFont typeface="Arial" panose="020B0604020202020204" pitchFamily="34" charset="0"/>
                        <a:buChar char="•"/>
                      </a:pPr>
                      <a:r>
                        <a:rPr lang="it-IT" sz="1600" b="0" noProof="0" dirty="0"/>
                        <a:t>ESIGENZE NAZIONALI</a:t>
                      </a:r>
                    </a:p>
                    <a:p>
                      <a:pPr marL="285750" indent="-285750" algn="l" rtl="0">
                        <a:buClr>
                          <a:srgbClr val="B2606E"/>
                        </a:buClr>
                        <a:buFont typeface="Arial" panose="020B0604020202020204" pitchFamily="34" charset="0"/>
                        <a:buChar char="•"/>
                      </a:pPr>
                      <a:r>
                        <a:rPr lang="it-IT" sz="1600" b="0" noProof="0" dirty="0"/>
                        <a:t>ESIGENZE DELLA SCUOLA </a:t>
                      </a:r>
                    </a:p>
                    <a:p>
                      <a:pPr marL="285750" indent="-285750" algn="l" rtl="0">
                        <a:buClr>
                          <a:srgbClr val="B2606E"/>
                        </a:buClr>
                        <a:buFont typeface="Arial" panose="020B0604020202020204" pitchFamily="34" charset="0"/>
                        <a:buChar char="•"/>
                      </a:pPr>
                      <a:r>
                        <a:rPr lang="it-IT" sz="1600" b="0" noProof="0" dirty="0"/>
                        <a:t>ESIGENZE DEI DOCENTI</a:t>
                      </a:r>
                    </a:p>
                    <a:p>
                      <a:pPr marL="285750" indent="-285750" algn="l" rtl="0">
                        <a:buClr>
                          <a:srgbClr val="B2606E"/>
                        </a:buClr>
                        <a:buFont typeface="Arial" panose="020B0604020202020204" pitchFamily="34" charset="0"/>
                        <a:buChar char="•"/>
                      </a:pPr>
                      <a:r>
                        <a:rPr lang="it-IT" sz="1600" b="0" noProof="0" dirty="0"/>
                        <a:t>PIANO FORMAZIONE DOCENTI</a:t>
                      </a:r>
                    </a:p>
                    <a:p>
                      <a:pPr marL="285750" indent="-285750" algn="l" rtl="0">
                        <a:buClr>
                          <a:srgbClr val="B2606E"/>
                        </a:buClr>
                        <a:buFont typeface="Arial" panose="020B0604020202020204" pitchFamily="34" charset="0"/>
                        <a:buChar char="•"/>
                      </a:pPr>
                      <a:r>
                        <a:rPr lang="it-IT" sz="1600" b="0" noProof="0" dirty="0"/>
                        <a:t>RAV</a:t>
                      </a:r>
                    </a:p>
                    <a:p>
                      <a:pPr marL="285750" indent="-285750" algn="l" rtl="0">
                        <a:buClr>
                          <a:srgbClr val="B2606E"/>
                        </a:buClr>
                        <a:buFont typeface="Arial" panose="020B0604020202020204" pitchFamily="34" charset="0"/>
                        <a:buChar char="•"/>
                      </a:pPr>
                      <a:r>
                        <a:rPr lang="it-IT" sz="1600" b="0" noProof="0" dirty="0"/>
                        <a:t>QUESTIONARIO BISOGNI FORMATIVI DEI DOCENTI</a:t>
                      </a:r>
                    </a:p>
                  </a:txBody>
                  <a:tcPr/>
                </a:tc>
                <a:tc>
                  <a:txBody>
                    <a:bodyPr/>
                    <a:lstStyle/>
                    <a:p>
                      <a:pPr algn="ctr" rtl="0"/>
                      <a:r>
                        <a:rPr lang="it-IT" sz="1600" b="0" noProof="0" dirty="0"/>
                        <a:t>Elaborazione piano attuativo</a:t>
                      </a:r>
                    </a:p>
                  </a:txBody>
                  <a:tcPr/>
                </a:tc>
                <a:tc>
                  <a:txBody>
                    <a:bodyPr/>
                    <a:lstStyle/>
                    <a:p>
                      <a:pPr algn="ctr" rtl="0"/>
                      <a:r>
                        <a:rPr lang="it-IT" sz="1600" b="0" noProof="0" dirty="0"/>
                        <a:t>Validazione degli strumenti in classe e  nel gruppo di lavoro</a:t>
                      </a:r>
                    </a:p>
                  </a:txBody>
                  <a:tcPr/>
                </a:tc>
                <a:tc>
                  <a:txBody>
                    <a:bodyPr/>
                    <a:lstStyle/>
                    <a:p>
                      <a:pPr algn="ctr" rtl="0"/>
                      <a:r>
                        <a:rPr lang="it-IT" sz="1600" b="0" noProof="0" dirty="0"/>
                        <a:t>Riflessione sul processo. Condivisione di idee ed  esperienze. Punti di debolezza e punti di forza.</a:t>
                      </a:r>
                    </a:p>
                  </a:txBody>
                  <a:tcPr/>
                </a:tc>
                <a:tc>
                  <a:txBody>
                    <a:bodyPr/>
                    <a:lstStyle/>
                    <a:p>
                      <a:pPr algn="ctr" rtl="0"/>
                      <a:r>
                        <a:rPr lang="it-IT" sz="1600" b="0" noProof="0" dirty="0"/>
                        <a:t>Documentazione dell’esperienza</a:t>
                      </a:r>
                    </a:p>
                  </a:txBody>
                  <a:tcPr/>
                </a:tc>
                <a:extLst>
                  <a:ext uri="{0D108BD9-81ED-4DB2-BD59-A6C34878D82A}">
                    <a16:rowId xmlns:a16="http://schemas.microsoft.com/office/drawing/2014/main" val="2361821215"/>
                  </a:ext>
                </a:extLst>
              </a:tr>
            </a:tbl>
          </a:graphicData>
        </a:graphic>
      </p:graphicFrame>
    </p:spTree>
    <p:extLst>
      <p:ext uri="{BB962C8B-B14F-4D97-AF65-F5344CB8AC3E}">
        <p14:creationId xmlns:p14="http://schemas.microsoft.com/office/powerpoint/2010/main" val="16661104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226EB699-7CFA-B5AC-082E-B1E29331DC51}"/>
              </a:ext>
            </a:extLst>
          </p:cNvPr>
          <p:cNvGraphicFramePr>
            <a:graphicFrameLocks noChangeAspect="1"/>
          </p:cNvGraphicFramePr>
          <p:nvPr>
            <p:custDataLst>
              <p:tags r:id="rId1"/>
            </p:custDataLst>
            <p:extLst>
              <p:ext uri="{D42A27DB-BD31-4B8C-83A1-F6EECF244321}">
                <p14:modId xmlns:p14="http://schemas.microsoft.com/office/powerpoint/2010/main" val="1468313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Segnaposto immagine 4">
            <a:extLst>
              <a:ext uri="{FF2B5EF4-FFF2-40B4-BE49-F238E27FC236}">
                <a16:creationId xmlns:a16="http://schemas.microsoft.com/office/drawing/2014/main" id="{70316739-C7FA-4487-B86B-6CE17B09B020}"/>
              </a:ext>
            </a:extLst>
          </p:cNvPr>
          <p:cNvPicPr>
            <a:picLocks noGrp="1" noChangeAspect="1"/>
          </p:cNvPicPr>
          <p:nvPr>
            <p:ph type="pic" sz="quarter" idx="12"/>
          </p:nvPr>
        </p:nvPicPr>
        <p:blipFill>
          <a:blip r:embed="rId6"/>
          <a:srcRect l="10688" r="10688"/>
          <a:stretch/>
        </p:blipFill>
        <p:spPr>
          <a:xfrm>
            <a:off x="0" y="0"/>
            <a:ext cx="8087304" cy="6858000"/>
          </a:xfrm>
        </p:spPr>
      </p:pic>
      <p:pic>
        <p:nvPicPr>
          <p:cNvPr id="16" name="Segnaposto immagine 15">
            <a:extLst>
              <a:ext uri="{FF2B5EF4-FFF2-40B4-BE49-F238E27FC236}">
                <a16:creationId xmlns:a16="http://schemas.microsoft.com/office/drawing/2014/main" id="{141CBC39-54B4-4424-84FB-FDAABDFFAE1A}"/>
              </a:ext>
            </a:extLst>
          </p:cNvPr>
          <p:cNvPicPr>
            <a:picLocks noGrp="1" noChangeAspect="1"/>
          </p:cNvPicPr>
          <p:nvPr>
            <p:ph type="pic" sz="quarter" idx="13"/>
          </p:nvPr>
        </p:nvPicPr>
        <p:blipFill>
          <a:blip r:embed="rId7"/>
          <a:srcRect t="10089" b="10089"/>
          <a:stretch/>
        </p:blipFill>
        <p:spPr>
          <a:xfrm>
            <a:off x="6464300" y="0"/>
            <a:ext cx="5727700" cy="6858000"/>
          </a:xfrm>
        </p:spPr>
      </p:pic>
      <p:grpSp>
        <p:nvGrpSpPr>
          <p:cNvPr id="9" name="Gruppo 8">
            <a:extLst>
              <a:ext uri="{FF2B5EF4-FFF2-40B4-BE49-F238E27FC236}">
                <a16:creationId xmlns:a16="http://schemas.microsoft.com/office/drawing/2014/main" id="{E7969C14-1078-4610-9BC5-74119C9B87BE}"/>
              </a:ext>
              <a:ext uri="{C183D7F6-B498-43B3-948B-1728B52AA6E4}">
                <adec:decorative xmlns:adec="http://schemas.microsoft.com/office/drawing/2017/decorative" val="1"/>
              </a:ext>
            </a:extLst>
          </p:cNvPr>
          <p:cNvGrpSpPr/>
          <p:nvPr/>
        </p:nvGrpSpPr>
        <p:grpSpPr>
          <a:xfrm>
            <a:off x="0" y="3808320"/>
            <a:ext cx="7833208" cy="2547440"/>
            <a:chOff x="0" y="3808320"/>
            <a:chExt cx="7833208" cy="2547440"/>
          </a:xfrm>
        </p:grpSpPr>
        <p:sp>
          <p:nvSpPr>
            <p:cNvPr id="10" name="Figura a mano libera: Forma 9">
              <a:extLst>
                <a:ext uri="{FF2B5EF4-FFF2-40B4-BE49-F238E27FC236}">
                  <a16:creationId xmlns:a16="http://schemas.microsoft.com/office/drawing/2014/main" id="{E531D018-EFA3-4346-AB80-7CE436393D9E}"/>
                </a:ext>
              </a:extLst>
            </p:cNvPr>
            <p:cNvSpPr/>
            <p:nvPr/>
          </p:nvSpPr>
          <p:spPr>
            <a:xfrm>
              <a:off x="0" y="3808320"/>
              <a:ext cx="7833208" cy="2547440"/>
            </a:xfrm>
            <a:custGeom>
              <a:avLst/>
              <a:gdLst>
                <a:gd name="connsiteX0" fmla="*/ 0 w 7833208"/>
                <a:gd name="connsiteY0" fmla="*/ 0 h 2547440"/>
                <a:gd name="connsiteX1" fmla="*/ 7833208 w 7833208"/>
                <a:gd name="connsiteY1" fmla="*/ 0 h 2547440"/>
                <a:gd name="connsiteX2" fmla="*/ 7135846 w 7833208"/>
                <a:gd name="connsiteY2" fmla="*/ 2547440 h 2547440"/>
                <a:gd name="connsiteX3" fmla="*/ 0 w 7833208"/>
                <a:gd name="connsiteY3" fmla="*/ 2547440 h 2547440"/>
              </a:gdLst>
              <a:ahLst/>
              <a:cxnLst>
                <a:cxn ang="0">
                  <a:pos x="connsiteX0" y="connsiteY0"/>
                </a:cxn>
                <a:cxn ang="0">
                  <a:pos x="connsiteX1" y="connsiteY1"/>
                </a:cxn>
                <a:cxn ang="0">
                  <a:pos x="connsiteX2" y="connsiteY2"/>
                </a:cxn>
                <a:cxn ang="0">
                  <a:pos x="connsiteX3" y="connsiteY3"/>
                </a:cxn>
              </a:cxnLst>
              <a:rect l="l" t="t" r="r" b="b"/>
              <a:pathLst>
                <a:path w="7833208" h="2547440">
                  <a:moveTo>
                    <a:pt x="0" y="0"/>
                  </a:moveTo>
                  <a:lnTo>
                    <a:pt x="7833208" y="0"/>
                  </a:lnTo>
                  <a:lnTo>
                    <a:pt x="7135846" y="2547440"/>
                  </a:lnTo>
                  <a:lnTo>
                    <a:pt x="0" y="2547440"/>
                  </a:ln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11" name="Figura a mano libera: Forma 10">
              <a:extLst>
                <a:ext uri="{FF2B5EF4-FFF2-40B4-BE49-F238E27FC236}">
                  <a16:creationId xmlns:a16="http://schemas.microsoft.com/office/drawing/2014/main" id="{FA9D7AC8-80D5-49DC-A585-FCFFA6CA4B66}"/>
                </a:ext>
              </a:extLst>
            </p:cNvPr>
            <p:cNvSpPr/>
            <p:nvPr/>
          </p:nvSpPr>
          <p:spPr>
            <a:xfrm>
              <a:off x="1" y="3808320"/>
              <a:ext cx="7692571" cy="2547440"/>
            </a:xfrm>
            <a:custGeom>
              <a:avLst/>
              <a:gdLst>
                <a:gd name="connsiteX0" fmla="*/ 0 w 7692571"/>
                <a:gd name="connsiteY0" fmla="*/ 0 h 2547440"/>
                <a:gd name="connsiteX1" fmla="*/ 7692571 w 7692571"/>
                <a:gd name="connsiteY1" fmla="*/ 0 h 2547440"/>
                <a:gd name="connsiteX2" fmla="*/ 6995209 w 7692571"/>
                <a:gd name="connsiteY2" fmla="*/ 2547440 h 2547440"/>
                <a:gd name="connsiteX3" fmla="*/ 0 w 7692571"/>
                <a:gd name="connsiteY3" fmla="*/ 2547440 h 2547440"/>
              </a:gdLst>
              <a:ahLst/>
              <a:cxnLst>
                <a:cxn ang="0">
                  <a:pos x="connsiteX0" y="connsiteY0"/>
                </a:cxn>
                <a:cxn ang="0">
                  <a:pos x="connsiteX1" y="connsiteY1"/>
                </a:cxn>
                <a:cxn ang="0">
                  <a:pos x="connsiteX2" y="connsiteY2"/>
                </a:cxn>
                <a:cxn ang="0">
                  <a:pos x="connsiteX3" y="connsiteY3"/>
                </a:cxn>
              </a:cxnLst>
              <a:rect l="l" t="t" r="r" b="b"/>
              <a:pathLst>
                <a:path w="7692571" h="2547440">
                  <a:moveTo>
                    <a:pt x="0" y="0"/>
                  </a:moveTo>
                  <a:lnTo>
                    <a:pt x="7692571" y="0"/>
                  </a:lnTo>
                  <a:lnTo>
                    <a:pt x="6995209" y="2547440"/>
                  </a:lnTo>
                  <a:lnTo>
                    <a:pt x="0" y="254744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grpSp>
      <p:sp>
        <p:nvSpPr>
          <p:cNvPr id="33" name="Titolo 32" descr="titolo">
            <a:extLst>
              <a:ext uri="{FF2B5EF4-FFF2-40B4-BE49-F238E27FC236}">
                <a16:creationId xmlns:a16="http://schemas.microsoft.com/office/drawing/2014/main" id="{18CDD97B-6E25-4FB4-B239-493E54AA0830}"/>
              </a:ext>
            </a:extLst>
          </p:cNvPr>
          <p:cNvSpPr>
            <a:spLocks noGrp="1"/>
          </p:cNvSpPr>
          <p:nvPr>
            <p:ph type="title"/>
          </p:nvPr>
        </p:nvSpPr>
        <p:spPr>
          <a:xfrm>
            <a:off x="785586" y="4081468"/>
            <a:ext cx="5005614" cy="822960"/>
          </a:xfrm>
        </p:spPr>
        <p:txBody>
          <a:bodyPr vert="horz" rtlCol="0"/>
          <a:lstStyle/>
          <a:p>
            <a:pPr rtl="0"/>
            <a:r>
              <a:rPr lang="it-IT" sz="3600" dirty="0">
                <a:solidFill>
                  <a:schemeClr val="bg1"/>
                </a:solidFill>
              </a:rPr>
              <a:t>6.</a:t>
            </a:r>
            <a:br>
              <a:rPr lang="it-IT" sz="3600" dirty="0">
                <a:solidFill>
                  <a:schemeClr val="bg1"/>
                </a:solidFill>
              </a:rPr>
            </a:br>
            <a:r>
              <a:rPr lang="it-IT" sz="3600" dirty="0">
                <a:solidFill>
                  <a:schemeClr val="bg1"/>
                </a:solidFill>
              </a:rPr>
              <a:t>Qualità delle iniziative formative</a:t>
            </a:r>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2" name="Segnaposto numero diapositiva 5" descr="numero diapositiva">
            <a:extLst>
              <a:ext uri="{FF2B5EF4-FFF2-40B4-BE49-F238E27FC236}">
                <a16:creationId xmlns:a16="http://schemas.microsoft.com/office/drawing/2014/main" id="{EC784E4D-7E61-4FDC-AD6A-E38867722409}"/>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34</a:t>
            </a:fld>
            <a:endParaRPr lang="it-IT" sz="1200">
              <a:solidFill>
                <a:schemeClr val="bg1"/>
              </a:solidFill>
            </a:endParaRPr>
          </a:p>
        </p:txBody>
      </p:sp>
    </p:spTree>
    <p:extLst>
      <p:ext uri="{BB962C8B-B14F-4D97-AF65-F5344CB8AC3E}">
        <p14:creationId xmlns:p14="http://schemas.microsoft.com/office/powerpoint/2010/main" val="2348008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0243ACF1-4E86-B612-5993-C7373976941E}"/>
              </a:ext>
            </a:extLst>
          </p:cNvPr>
          <p:cNvGraphicFramePr>
            <a:graphicFrameLocks noChangeAspect="1"/>
          </p:cNvGraphicFramePr>
          <p:nvPr>
            <p:custDataLst>
              <p:tags r:id="rId1"/>
            </p:custDataLst>
            <p:extLst>
              <p:ext uri="{D42A27DB-BD31-4B8C-83A1-F6EECF244321}">
                <p14:modId xmlns:p14="http://schemas.microsoft.com/office/powerpoint/2010/main" val="4030618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5" name="Oggetto 4" hidden="1">
                        <a:extLst>
                          <a:ext uri="{FF2B5EF4-FFF2-40B4-BE49-F238E27FC236}">
                            <a16:creationId xmlns:a16="http://schemas.microsoft.com/office/drawing/2014/main" id="{0243ACF1-4E86-B612-5993-C737397694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ttangolo 39">
            <a:extLst>
              <a:ext uri="{FF2B5EF4-FFF2-40B4-BE49-F238E27FC236}">
                <a16:creationId xmlns:a16="http://schemas.microsoft.com/office/drawing/2014/main" id="{2307499E-434B-21DC-9A68-C92EEB7CF6E0}"/>
              </a:ext>
            </a:extLst>
          </p:cNvPr>
          <p:cNvSpPr/>
          <p:nvPr/>
        </p:nvSpPr>
        <p:spPr>
          <a:xfrm>
            <a:off x="9059917" y="4845269"/>
            <a:ext cx="924911" cy="52551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olo 1" descr="titolo">
            <a:extLst>
              <a:ext uri="{FF2B5EF4-FFF2-40B4-BE49-F238E27FC236}">
                <a16:creationId xmlns:a16="http://schemas.microsoft.com/office/drawing/2014/main" id="{28BAA8DA-C40B-4AB9-9407-30FB70335152}"/>
              </a:ext>
            </a:extLst>
          </p:cNvPr>
          <p:cNvSpPr>
            <a:spLocks noGrp="1"/>
          </p:cNvSpPr>
          <p:nvPr>
            <p:ph type="ctrTitle"/>
          </p:nvPr>
        </p:nvSpPr>
        <p:spPr>
          <a:xfrm>
            <a:off x="7274144" y="1291771"/>
            <a:ext cx="4379976" cy="3994931"/>
          </a:xfrm>
          <a:noFill/>
        </p:spPr>
        <p:txBody>
          <a:bodyPr vert="horz" rtlCol="0" anchor="t"/>
          <a:lstStyle/>
          <a:p>
            <a:pPr rtl="0"/>
            <a:r>
              <a:rPr lang="it-IT" sz="2400" dirty="0"/>
              <a:t>La Checklist per la qualità delle iniziative formative sono uno strumento per progettare</a:t>
            </a:r>
            <a:br>
              <a:rPr lang="it-IT" sz="2400" dirty="0"/>
            </a:br>
            <a:br>
              <a:rPr lang="it-IT" sz="2400" dirty="0"/>
            </a:br>
            <a:r>
              <a:rPr lang="it-IT" sz="1400" dirty="0"/>
              <a:t>La </a:t>
            </a:r>
            <a:r>
              <a:rPr lang="it-IT" sz="1400" b="1" dirty="0"/>
              <a:t>Checklist per la qualità delle iniziative formative </a:t>
            </a:r>
            <a:r>
              <a:rPr lang="it-IT" sz="1400" dirty="0"/>
              <a:t>rappresenta un punto di partenza per misurare l’efficacia della formazione attraverso più strumenti (griglie di monitoraggio di  efficacia, questionari di gradimento, focus group, ecc.).</a:t>
            </a:r>
            <a:br>
              <a:rPr lang="it-IT" sz="1400" dirty="0"/>
            </a:br>
            <a:br>
              <a:rPr lang="it-IT" sz="1400" dirty="0"/>
            </a:br>
            <a:r>
              <a:rPr lang="it-IT" sz="1400" dirty="0"/>
              <a:t>Questi strumenti saranno applicati sia alla misurazione dell’andamento della </a:t>
            </a:r>
            <a:r>
              <a:rPr lang="it-IT" sz="1400" b="1" dirty="0"/>
              <a:t>formazione nei territori </a:t>
            </a:r>
            <a:r>
              <a:rPr lang="it-IT" sz="1400" dirty="0"/>
              <a:t>(es. ambiti e contesti  regionali), sia per il monitoraggio granulare delle </a:t>
            </a:r>
            <a:r>
              <a:rPr lang="it-IT" sz="1400" b="1" dirty="0"/>
              <a:t>azioni formative</a:t>
            </a:r>
            <a:r>
              <a:rPr lang="it-IT" sz="1400" dirty="0"/>
              <a:t>.</a:t>
            </a:r>
            <a:br>
              <a:rPr lang="it-IT" sz="1400" dirty="0"/>
            </a:br>
            <a:br>
              <a:rPr lang="it-IT" sz="1400" dirty="0"/>
            </a:br>
            <a:r>
              <a:rPr lang="it-IT" sz="1400" dirty="0"/>
              <a:t>Perché allora non servirsi della Checklist per </a:t>
            </a:r>
            <a:r>
              <a:rPr lang="it-IT" sz="1400" b="1" dirty="0"/>
              <a:t>migliorare la progettazione delle attività</a:t>
            </a:r>
            <a:r>
              <a:rPr lang="it-IT" sz="1400" dirty="0"/>
              <a:t>, soprattutto della parte relativa alla </a:t>
            </a:r>
            <a:r>
              <a:rPr lang="it-IT" sz="1400" b="1" dirty="0"/>
              <a:t>qualità metodologica</a:t>
            </a:r>
            <a:r>
              <a:rPr lang="it-IT" sz="1400" dirty="0"/>
              <a:t>?</a:t>
            </a:r>
            <a:br>
              <a:rPr lang="it-IT" sz="1400" dirty="0"/>
            </a:br>
            <a:endParaRPr lang="it-IT" sz="2400" dirty="0"/>
          </a:p>
        </p:txBody>
      </p:sp>
      <p:pic>
        <p:nvPicPr>
          <p:cNvPr id="14" name="Segnaposto immagine 13">
            <a:extLst>
              <a:ext uri="{FF2B5EF4-FFF2-40B4-BE49-F238E27FC236}">
                <a16:creationId xmlns:a16="http://schemas.microsoft.com/office/drawing/2014/main" id="{E983D85E-34D8-430D-875F-7EBB69A6B73E}"/>
              </a:ext>
            </a:extLst>
          </p:cNvPr>
          <p:cNvPicPr>
            <a:picLocks noGrp="1" noChangeAspect="1"/>
          </p:cNvPicPr>
          <p:nvPr>
            <p:ph type="pic" sz="quarter" idx="10"/>
          </p:nvPr>
        </p:nvPicPr>
        <p:blipFill>
          <a:blip r:embed="rId6"/>
          <a:srcRect/>
          <a:stretch/>
        </p:blipFill>
        <p:spPr/>
      </p:pic>
      <p:grpSp>
        <p:nvGrpSpPr>
          <p:cNvPr id="4" name="Gruppo 3">
            <a:extLst>
              <a:ext uri="{FF2B5EF4-FFF2-40B4-BE49-F238E27FC236}">
                <a16:creationId xmlns:a16="http://schemas.microsoft.com/office/drawing/2014/main" id="{EB664AAE-5AE9-41D7-8346-002B9F445323}"/>
              </a:ext>
              <a:ext uri="{C183D7F6-B498-43B3-948B-1728B52AA6E4}">
                <adec:decorative xmlns:adec="http://schemas.microsoft.com/office/drawing/2017/decorative" val="1"/>
              </a:ext>
            </a:extLst>
          </p:cNvPr>
          <p:cNvGrpSpPr/>
          <p:nvPr/>
        </p:nvGrpSpPr>
        <p:grpSpPr>
          <a:xfrm>
            <a:off x="-3740" y="0"/>
            <a:ext cx="6208649" cy="6858000"/>
            <a:chOff x="-3740" y="0"/>
            <a:chExt cx="6208649" cy="6858000"/>
          </a:xfrm>
        </p:grpSpPr>
        <p:sp>
          <p:nvSpPr>
            <p:cNvPr id="11" name="Figura a mano libera: Forma 10">
              <a:extLst>
                <a:ext uri="{FF2B5EF4-FFF2-40B4-BE49-F238E27FC236}">
                  <a16:creationId xmlns:a16="http://schemas.microsoft.com/office/drawing/2014/main" id="{927C3783-B800-4093-BB0D-D5AEF08C3B59}"/>
                </a:ext>
              </a:extLst>
            </p:cNvPr>
            <p:cNvSpPr/>
            <p:nvPr/>
          </p:nvSpPr>
          <p:spPr>
            <a:xfrm>
              <a:off x="-3740" y="0"/>
              <a:ext cx="6208649" cy="6858000"/>
            </a:xfrm>
            <a:custGeom>
              <a:avLst/>
              <a:gdLst>
                <a:gd name="connsiteX0" fmla="*/ 0 w 6208649"/>
                <a:gd name="connsiteY0" fmla="*/ 0 h 6858000"/>
                <a:gd name="connsiteX1" fmla="*/ 6208649 w 6208649"/>
                <a:gd name="connsiteY1" fmla="*/ 0 h 6858000"/>
                <a:gd name="connsiteX2" fmla="*/ 2737815 w 6208649"/>
                <a:gd name="connsiteY2" fmla="*/ 6858000 h 6858000"/>
                <a:gd name="connsiteX3" fmla="*/ 0 w 620864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08649" h="6858000">
                  <a:moveTo>
                    <a:pt x="0" y="0"/>
                  </a:moveTo>
                  <a:lnTo>
                    <a:pt x="6208649" y="0"/>
                  </a:lnTo>
                  <a:lnTo>
                    <a:pt x="2737815" y="6858000"/>
                  </a:lnTo>
                  <a:lnTo>
                    <a:pt x="0" y="6858000"/>
                  </a:lnTo>
                  <a:close/>
                </a:path>
              </a:pathLst>
            </a:custGeom>
            <a:solidFill>
              <a:schemeClr val="bg1">
                <a:lumMod val="95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9" name="Rettangolo 8">
              <a:extLst>
                <a:ext uri="{FF2B5EF4-FFF2-40B4-BE49-F238E27FC236}">
                  <a16:creationId xmlns:a16="http://schemas.microsoft.com/office/drawing/2014/main" id="{B576E978-A841-4A4F-B153-CC369D9391D3}"/>
                </a:ext>
              </a:extLst>
            </p:cNvPr>
            <p:cNvSpPr/>
            <p:nvPr/>
          </p:nvSpPr>
          <p:spPr>
            <a:xfrm>
              <a:off x="1451429" y="0"/>
              <a:ext cx="3222172" cy="6858000"/>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Tree>
    <p:extLst>
      <p:ext uri="{BB962C8B-B14F-4D97-AF65-F5344CB8AC3E}">
        <p14:creationId xmlns:p14="http://schemas.microsoft.com/office/powerpoint/2010/main" val="15440927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ggetto 11" hidden="1">
            <a:extLst>
              <a:ext uri="{FF2B5EF4-FFF2-40B4-BE49-F238E27FC236}">
                <a16:creationId xmlns:a16="http://schemas.microsoft.com/office/drawing/2014/main" id="{339E7B20-A5FB-10F7-A6FE-A4C14C115B08}"/>
              </a:ext>
            </a:extLst>
          </p:cNvPr>
          <p:cNvGraphicFramePr>
            <a:graphicFrameLocks noChangeAspect="1"/>
          </p:cNvGraphicFramePr>
          <p:nvPr>
            <p:custDataLst>
              <p:tags r:id="rId1"/>
            </p:custDataLst>
            <p:extLst>
              <p:ext uri="{D42A27DB-BD31-4B8C-83A1-F6EECF244321}">
                <p14:modId xmlns:p14="http://schemas.microsoft.com/office/powerpoint/2010/main" val="296039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12" name="Oggetto 11" hidden="1">
                        <a:extLst>
                          <a:ext uri="{FF2B5EF4-FFF2-40B4-BE49-F238E27FC236}">
                            <a16:creationId xmlns:a16="http://schemas.microsoft.com/office/drawing/2014/main" id="{339E7B20-A5FB-10F7-A6FE-A4C14C115B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a:extLst>
              <a:ext uri="{FF2B5EF4-FFF2-40B4-BE49-F238E27FC236}">
                <a16:creationId xmlns:a16="http://schemas.microsoft.com/office/drawing/2014/main" id="{3C2A7DCB-B005-424A-8446-ACA533D0BC8B}"/>
              </a:ext>
            </a:extLst>
          </p:cNvPr>
          <p:cNvPicPr>
            <a:picLocks noGrp="1" noChangeAspect="1"/>
          </p:cNvPicPr>
          <p:nvPr>
            <p:ph type="pic" sz="quarter" idx="10"/>
          </p:nvPr>
        </p:nvPicPr>
        <p:blipFill>
          <a:blip r:embed="rId6"/>
          <a:srcRect/>
          <a:stretch/>
        </p:blipFill>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627378"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dirty="0"/>
              <a:t>1. Qualità del coinvolgimento</a:t>
            </a:r>
          </a:p>
        </p:txBody>
      </p:sp>
      <p:pic>
        <p:nvPicPr>
          <p:cNvPr id="35" name="Segnaposto contenuto 34" descr="Libro aperto">
            <a:extLst>
              <a:ext uri="{FF2B5EF4-FFF2-40B4-BE49-F238E27FC236}">
                <a16:creationId xmlns:a16="http://schemas.microsoft.com/office/drawing/2014/main" id="{56174A3F-A7B3-40BE-88BD-1796890E4B44}"/>
              </a:ext>
            </a:extLst>
          </p:cNvPr>
          <p:cNvPicPr>
            <a:picLocks noGrp="1" noChangeAspect="1"/>
          </p:cNvPicPr>
          <p:nvPr>
            <p:ph sz="quarter" idx="13"/>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503" y="1388436"/>
            <a:ext cx="548640" cy="548640"/>
          </a:xfrm>
        </p:spPr>
      </p:pic>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a:xfrm>
            <a:off x="731782" y="1493543"/>
            <a:ext cx="7676493" cy="3368675"/>
          </a:xfrm>
        </p:spPr>
        <p:txBody>
          <a:bodyPr rtlCol="0"/>
          <a:lstStyle/>
          <a:p>
            <a:pPr marL="285750" indent="-285750" rtl="0">
              <a:buClr>
                <a:srgbClr val="B2606E"/>
              </a:buClr>
              <a:buFont typeface="Arial" panose="020B0604020202020204" pitchFamily="34" charset="0"/>
              <a:buChar char="•"/>
            </a:pPr>
            <a:r>
              <a:rPr lang="it-IT" dirty="0"/>
              <a:t>La scelta dell’attività formativa è stata oggetto di </a:t>
            </a:r>
            <a:r>
              <a:rPr lang="it-IT" b="1" dirty="0"/>
              <a:t>approfondimento collegiale</a:t>
            </a:r>
            <a:r>
              <a:rPr lang="it-IT" dirty="0"/>
              <a:t>?</a:t>
            </a:r>
          </a:p>
          <a:p>
            <a:pPr marL="285750" indent="-285750" rtl="0">
              <a:buClr>
                <a:srgbClr val="B2606E"/>
              </a:buClr>
              <a:buFont typeface="Arial" panose="020B0604020202020204" pitchFamily="34" charset="0"/>
              <a:buChar char="•"/>
            </a:pPr>
            <a:r>
              <a:rPr lang="it-IT" dirty="0"/>
              <a:t>È stata stimolata una </a:t>
            </a:r>
            <a:r>
              <a:rPr lang="it-IT" b="1" dirty="0"/>
              <a:t>riflessione</a:t>
            </a:r>
            <a:r>
              <a:rPr lang="it-IT" dirty="0"/>
              <a:t> prima dell’avvio dell’iniziativa sulle tematiche scelte</a:t>
            </a:r>
          </a:p>
          <a:p>
            <a:pPr marL="285750" indent="-285750" rtl="0">
              <a:buClr>
                <a:srgbClr val="B2606E"/>
              </a:buClr>
              <a:buFont typeface="Arial" panose="020B0604020202020204" pitchFamily="34" charset="0"/>
              <a:buChar char="•"/>
            </a:pPr>
            <a:r>
              <a:rPr lang="it-IT" dirty="0"/>
              <a:t>L’attività formativa è </a:t>
            </a:r>
            <a:r>
              <a:rPr lang="it-IT" b="1" dirty="0"/>
              <a:t>coerente</a:t>
            </a:r>
            <a:r>
              <a:rPr lang="it-IT" dirty="0"/>
              <a:t> con le priorità individuate nel RAV?</a:t>
            </a:r>
          </a:p>
          <a:p>
            <a:pPr marL="285750" indent="-285750" rtl="0">
              <a:buClr>
                <a:srgbClr val="B2606E"/>
              </a:buClr>
              <a:buFont typeface="Arial" panose="020B0604020202020204" pitchFamily="34" charset="0"/>
              <a:buChar char="•"/>
            </a:pPr>
            <a:r>
              <a:rPr lang="it-IT" dirty="0"/>
              <a:t>L’iniziativa  formativa è collegata al </a:t>
            </a:r>
            <a:r>
              <a:rPr lang="it-IT" b="1" dirty="0"/>
              <a:t>contesto</a:t>
            </a:r>
            <a:r>
              <a:rPr lang="it-IT" dirty="0"/>
              <a:t> dei partecipanti?</a:t>
            </a:r>
          </a:p>
          <a:p>
            <a:pPr marL="285750" indent="-285750" rtl="0">
              <a:buClr>
                <a:srgbClr val="B2606E"/>
              </a:buClr>
              <a:buFont typeface="Arial" panose="020B0604020202020204" pitchFamily="34" charset="0"/>
              <a:buChar char="•"/>
            </a:pPr>
            <a:r>
              <a:rPr lang="it-IT" dirty="0"/>
              <a:t>Sono stati resi noti prima dell’inizio dell’attività: gli </a:t>
            </a:r>
            <a:r>
              <a:rPr lang="it-IT" b="1" dirty="0"/>
              <a:t>obiettivi</a:t>
            </a:r>
            <a:r>
              <a:rPr lang="it-IT" dirty="0"/>
              <a:t>, il </a:t>
            </a:r>
            <a:r>
              <a:rPr lang="it-IT" b="1" dirty="0"/>
              <a:t>programma</a:t>
            </a:r>
            <a:r>
              <a:rPr lang="it-IT" dirty="0"/>
              <a:t>,  relativa alla </a:t>
            </a:r>
            <a:r>
              <a:rPr lang="it-IT" b="1" dirty="0"/>
              <a:t>progettazione</a:t>
            </a:r>
            <a:r>
              <a:rPr lang="it-IT" dirty="0"/>
              <a:t> dei contenuti?</a:t>
            </a:r>
          </a:p>
          <a:p>
            <a:pPr marL="285750" indent="-285750" rtl="0">
              <a:buClr>
                <a:srgbClr val="B2606E"/>
              </a:buClr>
              <a:buFont typeface="Arial" panose="020B0604020202020204" pitchFamily="34" charset="0"/>
              <a:buChar char="•"/>
            </a:pPr>
            <a:r>
              <a:rPr lang="it-IT" dirty="0"/>
              <a:t>Sono stati dichiarati i </a:t>
            </a:r>
            <a:r>
              <a:rPr lang="it-IT" b="1" dirty="0"/>
              <a:t>livelli di partenza </a:t>
            </a:r>
            <a:r>
              <a:rPr lang="it-IT" dirty="0"/>
              <a:t>relativi alle competenze necessarie per la  partecipazione all’attività formativa programmata?</a:t>
            </a:r>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44" name="Segnaposto numero diapositiva 5" descr="Numero diapositiva">
            <a:extLst>
              <a:ext uri="{FF2B5EF4-FFF2-40B4-BE49-F238E27FC236}">
                <a16:creationId xmlns:a16="http://schemas.microsoft.com/office/drawing/2014/main" id="{11457662-C1A5-4B93-8E30-88025E27C462}"/>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36</a:t>
            </a:fld>
            <a:endParaRPr lang="it-IT" sz="1200">
              <a:solidFill>
                <a:schemeClr val="bg1"/>
              </a:solidFill>
            </a:endParaRPr>
          </a:p>
        </p:txBody>
      </p:sp>
      <p:sp>
        <p:nvSpPr>
          <p:cNvPr id="16" name="Sottotitolo 2">
            <a:extLst>
              <a:ext uri="{FF2B5EF4-FFF2-40B4-BE49-F238E27FC236}">
                <a16:creationId xmlns:a16="http://schemas.microsoft.com/office/drawing/2014/main" id="{A86F2081-BBAF-4AEE-7335-2246E5DC0571}"/>
              </a:ext>
            </a:extLst>
          </p:cNvPr>
          <p:cNvSpPr txBox="1">
            <a:spLocks/>
          </p:cNvSpPr>
          <p:nvPr/>
        </p:nvSpPr>
        <p:spPr>
          <a:xfrm>
            <a:off x="2066116" y="4768029"/>
            <a:ext cx="4178808" cy="521208"/>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lang="en-US" sz="1800" kern="1200" dirty="0">
                <a:solidFill>
                  <a:srgbClr val="B2606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Dimmi e dimenticherò, insegnami e forse ricorderò, coinvolgimi ed imparerò!»</a:t>
            </a:r>
          </a:p>
          <a:p>
            <a:r>
              <a:rPr lang="it-IT" dirty="0"/>
              <a:t>(Benjamin Franklin)</a:t>
            </a:r>
          </a:p>
        </p:txBody>
      </p:sp>
      <p:grpSp>
        <p:nvGrpSpPr>
          <p:cNvPr id="17" name="Gruppo 16">
            <a:extLst>
              <a:ext uri="{FF2B5EF4-FFF2-40B4-BE49-F238E27FC236}">
                <a16:creationId xmlns:a16="http://schemas.microsoft.com/office/drawing/2014/main" id="{AE63D4BA-A79F-4AED-E79C-6C84DE83B754}"/>
              </a:ext>
            </a:extLst>
          </p:cNvPr>
          <p:cNvGrpSpPr/>
          <p:nvPr/>
        </p:nvGrpSpPr>
        <p:grpSpPr>
          <a:xfrm>
            <a:off x="3817383" y="4430228"/>
            <a:ext cx="676275" cy="114300"/>
            <a:chOff x="9330846" y="5054600"/>
            <a:chExt cx="676275" cy="114300"/>
          </a:xfrm>
        </p:grpSpPr>
        <p:sp>
          <p:nvSpPr>
            <p:cNvPr id="18" name="Ovale 17">
              <a:extLst>
                <a:ext uri="{FF2B5EF4-FFF2-40B4-BE49-F238E27FC236}">
                  <a16:creationId xmlns:a16="http://schemas.microsoft.com/office/drawing/2014/main" id="{9771460C-3D86-7E7C-E0DF-4117AA0D5A40}"/>
                </a:ext>
              </a:extLst>
            </p:cNvPr>
            <p:cNvSpPr/>
            <p:nvPr/>
          </p:nvSpPr>
          <p:spPr>
            <a:xfrm>
              <a:off x="933084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9" name="Ovale 18">
              <a:extLst>
                <a:ext uri="{FF2B5EF4-FFF2-40B4-BE49-F238E27FC236}">
                  <a16:creationId xmlns:a16="http://schemas.microsoft.com/office/drawing/2014/main" id="{01D7335E-1C27-3B47-B265-4DA7769F9B7F}"/>
                </a:ext>
              </a:extLst>
            </p:cNvPr>
            <p:cNvSpPr/>
            <p:nvPr/>
          </p:nvSpPr>
          <p:spPr>
            <a:xfrm>
              <a:off x="951817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20" name="Ovale 19">
              <a:extLst>
                <a:ext uri="{FF2B5EF4-FFF2-40B4-BE49-F238E27FC236}">
                  <a16:creationId xmlns:a16="http://schemas.microsoft.com/office/drawing/2014/main" id="{5148595E-FBB1-19EF-1BB3-B22CA30F05C2}"/>
                </a:ext>
              </a:extLst>
            </p:cNvPr>
            <p:cNvSpPr/>
            <p:nvPr/>
          </p:nvSpPr>
          <p:spPr>
            <a:xfrm>
              <a:off x="970549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21" name="Ovale 20">
              <a:extLst>
                <a:ext uri="{FF2B5EF4-FFF2-40B4-BE49-F238E27FC236}">
                  <a16:creationId xmlns:a16="http://schemas.microsoft.com/office/drawing/2014/main" id="{92BD5381-7A09-6DE1-FA81-AA2A534FAFA8}"/>
                </a:ext>
              </a:extLst>
            </p:cNvPr>
            <p:cNvSpPr/>
            <p:nvPr/>
          </p:nvSpPr>
          <p:spPr>
            <a:xfrm>
              <a:off x="989282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Tree>
    <p:extLst>
      <p:ext uri="{BB962C8B-B14F-4D97-AF65-F5344CB8AC3E}">
        <p14:creationId xmlns:p14="http://schemas.microsoft.com/office/powerpoint/2010/main" val="8076286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ggetto 11" hidden="1">
            <a:extLst>
              <a:ext uri="{FF2B5EF4-FFF2-40B4-BE49-F238E27FC236}">
                <a16:creationId xmlns:a16="http://schemas.microsoft.com/office/drawing/2014/main" id="{339E7B20-A5FB-10F7-A6FE-A4C14C115B08}"/>
              </a:ext>
            </a:extLst>
          </p:cNvPr>
          <p:cNvGraphicFramePr>
            <a:graphicFrameLocks noChangeAspect="1"/>
          </p:cNvGraphicFramePr>
          <p:nvPr>
            <p:custDataLst>
              <p:tags r:id="rId1"/>
            </p:custDataLst>
            <p:extLst>
              <p:ext uri="{D42A27DB-BD31-4B8C-83A1-F6EECF244321}">
                <p14:modId xmlns:p14="http://schemas.microsoft.com/office/powerpoint/2010/main" val="2259301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12" name="Oggetto 11" hidden="1">
                        <a:extLst>
                          <a:ext uri="{FF2B5EF4-FFF2-40B4-BE49-F238E27FC236}">
                            <a16:creationId xmlns:a16="http://schemas.microsoft.com/office/drawing/2014/main" id="{339E7B20-A5FB-10F7-A6FE-A4C14C115B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a:extLst>
              <a:ext uri="{FF2B5EF4-FFF2-40B4-BE49-F238E27FC236}">
                <a16:creationId xmlns:a16="http://schemas.microsoft.com/office/drawing/2014/main" id="{3C2A7DCB-B005-424A-8446-ACA533D0BC8B}"/>
              </a:ext>
            </a:extLst>
          </p:cNvPr>
          <p:cNvPicPr>
            <a:picLocks noGrp="1" noChangeAspect="1"/>
          </p:cNvPicPr>
          <p:nvPr>
            <p:ph type="pic" sz="quarter" idx="10"/>
          </p:nvPr>
        </p:nvPicPr>
        <p:blipFill>
          <a:blip r:embed="rId6"/>
          <a:srcRect/>
          <a:stretch/>
        </p:blipFill>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627378"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a:t>2. Qualità metodologica</a:t>
            </a:r>
            <a:endParaRPr lang="it-IT" dirty="0"/>
          </a:p>
        </p:txBody>
      </p:sp>
      <p:pic>
        <p:nvPicPr>
          <p:cNvPr id="35" name="Segnaposto contenuto 34" descr="Libro aperto">
            <a:extLst>
              <a:ext uri="{FF2B5EF4-FFF2-40B4-BE49-F238E27FC236}">
                <a16:creationId xmlns:a16="http://schemas.microsoft.com/office/drawing/2014/main" id="{56174A3F-A7B3-40BE-88BD-1796890E4B44}"/>
              </a:ext>
            </a:extLst>
          </p:cNvPr>
          <p:cNvPicPr>
            <a:picLocks noGrp="1" noChangeAspect="1"/>
          </p:cNvPicPr>
          <p:nvPr>
            <p:ph sz="quarter" idx="13"/>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503" y="2096965"/>
            <a:ext cx="548640" cy="548640"/>
          </a:xfrm>
        </p:spPr>
      </p:pic>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a:xfrm>
            <a:off x="687622" y="2096965"/>
            <a:ext cx="7676493" cy="3961326"/>
          </a:xfrm>
        </p:spPr>
        <p:txBody>
          <a:bodyPr rtlCol="0"/>
          <a:lstStyle/>
          <a:p>
            <a:pPr marL="285750" indent="-285750" rtl="0">
              <a:buClr>
                <a:srgbClr val="B2606E"/>
              </a:buClr>
              <a:buFont typeface="Arial" panose="020B0604020202020204" pitchFamily="34" charset="0"/>
              <a:buChar char="•"/>
            </a:pPr>
            <a:r>
              <a:rPr lang="it-IT" dirty="0"/>
              <a:t>L’attività formativa prevede momenti di </a:t>
            </a:r>
            <a:r>
              <a:rPr lang="it-IT" b="1" dirty="0"/>
              <a:t>esercitazione/simulazione/laboratorio </a:t>
            </a:r>
            <a:r>
              <a:rPr lang="it-IT" dirty="0"/>
              <a:t>tra docenti?</a:t>
            </a:r>
          </a:p>
          <a:p>
            <a:pPr marL="285750" indent="-285750" rtl="0">
              <a:buClr>
                <a:srgbClr val="B2606E"/>
              </a:buClr>
              <a:buFont typeface="Arial" panose="020B0604020202020204" pitchFamily="34" charset="0"/>
              <a:buChar char="•"/>
            </a:pPr>
            <a:r>
              <a:rPr lang="it-IT" dirty="0"/>
              <a:t>Sono previste </a:t>
            </a:r>
            <a:r>
              <a:rPr lang="it-IT" b="1" dirty="0"/>
              <a:t>metodologie innovative </a:t>
            </a:r>
            <a:r>
              <a:rPr lang="it-IT" dirty="0"/>
              <a:t>che permettano ai partecipanti di collaborare?</a:t>
            </a:r>
          </a:p>
          <a:p>
            <a:pPr marL="285750" indent="-285750" rtl="0">
              <a:buClr>
                <a:srgbClr val="B2606E"/>
              </a:buClr>
              <a:buFont typeface="Arial" panose="020B0604020202020204" pitchFamily="34" charset="0"/>
              <a:buChar char="•"/>
            </a:pPr>
            <a:r>
              <a:rPr lang="it-IT" dirty="0"/>
              <a:t>L’attività formativa  prevede </a:t>
            </a:r>
            <a:r>
              <a:rPr lang="it-IT" b="1" dirty="0"/>
              <a:t>confronti</a:t>
            </a:r>
            <a:r>
              <a:rPr lang="it-IT" dirty="0"/>
              <a:t>, </a:t>
            </a:r>
            <a:r>
              <a:rPr lang="it-IT" b="1" dirty="0"/>
              <a:t>scambi di esperienze </a:t>
            </a:r>
            <a:r>
              <a:rPr lang="it-IT" dirty="0"/>
              <a:t>e </a:t>
            </a:r>
            <a:r>
              <a:rPr lang="it-IT" b="1" dirty="0"/>
              <a:t>interazione</a:t>
            </a:r>
            <a:r>
              <a:rPr lang="it-IT" dirty="0"/>
              <a:t> tra partecipanti?</a:t>
            </a:r>
          </a:p>
          <a:p>
            <a:pPr marL="285750" indent="-285750" rtl="0">
              <a:buClr>
                <a:srgbClr val="B2606E"/>
              </a:buClr>
              <a:buFont typeface="Arial" panose="020B0604020202020204" pitchFamily="34" charset="0"/>
              <a:buChar char="•"/>
            </a:pPr>
            <a:r>
              <a:rPr lang="it-IT" dirty="0"/>
              <a:t>Vengono forniti esempi di </a:t>
            </a:r>
            <a:r>
              <a:rPr lang="it-IT" b="1" dirty="0"/>
              <a:t>buone pratiche</a:t>
            </a:r>
            <a:r>
              <a:rPr lang="it-IT" dirty="0"/>
              <a:t>?</a:t>
            </a:r>
          </a:p>
          <a:p>
            <a:pPr marL="285750" indent="-285750" rtl="0">
              <a:buClr>
                <a:srgbClr val="B2606E"/>
              </a:buClr>
              <a:buFont typeface="Arial" panose="020B0604020202020204" pitchFamily="34" charset="0"/>
              <a:buChar char="•"/>
            </a:pPr>
            <a:r>
              <a:rPr lang="it-IT" dirty="0"/>
              <a:t>Viene illustrata l’effettiva </a:t>
            </a:r>
            <a:r>
              <a:rPr lang="it-IT" b="1" dirty="0"/>
              <a:t>applicabilità</a:t>
            </a:r>
            <a:r>
              <a:rPr lang="it-IT" dirty="0"/>
              <a:t> del materiale disponibile  ai partecipanti?</a:t>
            </a:r>
          </a:p>
          <a:p>
            <a:pPr marL="285750" indent="-285750" rtl="0">
              <a:buClr>
                <a:srgbClr val="B2606E"/>
              </a:buClr>
              <a:buFont typeface="Arial" panose="020B0604020202020204" pitchFamily="34" charset="0"/>
              <a:buChar char="•"/>
            </a:pPr>
            <a:r>
              <a:rPr lang="it-IT" dirty="0"/>
              <a:t>L’attività formativa prevede una </a:t>
            </a:r>
            <a:r>
              <a:rPr lang="it-IT" b="1" dirty="0"/>
              <a:t>sperimentazione in classe </a:t>
            </a:r>
            <a:r>
              <a:rPr lang="it-IT" dirty="0"/>
              <a:t>(non necessariamente da parte di tutti i partecipanti)?</a:t>
            </a:r>
          </a:p>
          <a:p>
            <a:pPr marL="285750" indent="-285750" rtl="0">
              <a:buClr>
                <a:srgbClr val="B2606E"/>
              </a:buClr>
              <a:buFont typeface="Arial" panose="020B0604020202020204" pitchFamily="34" charset="0"/>
              <a:buChar char="•"/>
            </a:pPr>
            <a:r>
              <a:rPr lang="it-IT" dirty="0"/>
              <a:t>L’attività formativa consente uno </a:t>
            </a:r>
            <a:r>
              <a:rPr lang="it-IT" b="1" dirty="0"/>
              <a:t>sviluppo progressivo </a:t>
            </a:r>
            <a:r>
              <a:rPr lang="it-IT" dirty="0"/>
              <a:t>nel tempo?</a:t>
            </a:r>
          </a:p>
          <a:p>
            <a:pPr marL="285750" indent="-285750" rtl="0">
              <a:buClr>
                <a:srgbClr val="B2606E"/>
              </a:buClr>
              <a:buFont typeface="Arial" panose="020B0604020202020204" pitchFamily="34" charset="0"/>
              <a:buChar char="•"/>
            </a:pPr>
            <a:r>
              <a:rPr lang="it-IT" dirty="0"/>
              <a:t>È prevista la stesura di un </a:t>
            </a:r>
            <a:r>
              <a:rPr lang="it-IT" b="1" dirty="0"/>
              <a:t>diario di apprendimento </a:t>
            </a:r>
            <a:r>
              <a:rPr lang="it-IT" dirty="0"/>
              <a:t>in formato digitale durante il percorso  formativo? </a:t>
            </a:r>
          </a:p>
          <a:p>
            <a:pPr marL="285750" indent="-285750" rtl="0">
              <a:buClr>
                <a:srgbClr val="B2606E"/>
              </a:buClr>
              <a:buFont typeface="Arial" panose="020B0604020202020204" pitchFamily="34" charset="0"/>
              <a:buChar char="•"/>
            </a:pPr>
            <a:r>
              <a:rPr lang="it-IT" dirty="0"/>
              <a:t>L’attività formativa prevede la presenza di </a:t>
            </a:r>
            <a:r>
              <a:rPr lang="it-IT" b="1" dirty="0"/>
              <a:t>tutor/coordinatori interni  </a:t>
            </a:r>
            <a:r>
              <a:rPr lang="it-IT" dirty="0"/>
              <a:t>o altre forme di accompagnamento?</a:t>
            </a:r>
          </a:p>
          <a:p>
            <a:pPr marL="285750" indent="-285750" rtl="0">
              <a:buClr>
                <a:srgbClr val="B2606E"/>
              </a:buClr>
              <a:buFont typeface="Arial" panose="020B0604020202020204" pitchFamily="34" charset="0"/>
              <a:buChar char="•"/>
            </a:pPr>
            <a:r>
              <a:rPr lang="it-IT" dirty="0"/>
              <a:t>È previsto un </a:t>
            </a:r>
            <a:r>
              <a:rPr lang="it-IT" b="1" dirty="0"/>
              <a:t>ambiente online</a:t>
            </a:r>
            <a:r>
              <a:rPr lang="it-IT" dirty="0"/>
              <a:t> dedicato per studio e consultazione di risorse aggiuntive?</a:t>
            </a:r>
          </a:p>
          <a:p>
            <a:pPr marL="285750" indent="-285750" rtl="0">
              <a:buClr>
                <a:srgbClr val="B2606E"/>
              </a:buClr>
              <a:buFont typeface="Arial" panose="020B0604020202020204" pitchFamily="34" charset="0"/>
              <a:buChar char="•"/>
            </a:pPr>
            <a:r>
              <a:rPr lang="it-IT" dirty="0"/>
              <a:t>Il </a:t>
            </a:r>
            <a:r>
              <a:rPr lang="it-IT" b="1" dirty="0"/>
              <a:t>programma</a:t>
            </a:r>
            <a:r>
              <a:rPr lang="it-IT" dirty="0"/>
              <a:t> dell’iniziativa formativa e la sua </a:t>
            </a:r>
            <a:r>
              <a:rPr lang="it-IT" b="1" dirty="0"/>
              <a:t>organizzazione temporale </a:t>
            </a:r>
            <a:r>
              <a:rPr lang="it-IT" dirty="0"/>
              <a:t>sono rispettati?</a:t>
            </a:r>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44" name="Segnaposto numero diapositiva 5" descr="Numero diapositiva">
            <a:extLst>
              <a:ext uri="{FF2B5EF4-FFF2-40B4-BE49-F238E27FC236}">
                <a16:creationId xmlns:a16="http://schemas.microsoft.com/office/drawing/2014/main" id="{11457662-C1A5-4B93-8E30-88025E27C462}"/>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37</a:t>
            </a:fld>
            <a:endParaRPr lang="it-IT" sz="1200">
              <a:solidFill>
                <a:schemeClr val="bg1"/>
              </a:solidFill>
            </a:endParaRPr>
          </a:p>
        </p:txBody>
      </p:sp>
      <p:sp>
        <p:nvSpPr>
          <p:cNvPr id="18" name="Sottotitolo 2">
            <a:extLst>
              <a:ext uri="{FF2B5EF4-FFF2-40B4-BE49-F238E27FC236}">
                <a16:creationId xmlns:a16="http://schemas.microsoft.com/office/drawing/2014/main" id="{76938E1F-1246-DF68-1088-3287731DC357}"/>
              </a:ext>
            </a:extLst>
          </p:cNvPr>
          <p:cNvSpPr txBox="1">
            <a:spLocks/>
          </p:cNvSpPr>
          <p:nvPr/>
        </p:nvSpPr>
        <p:spPr>
          <a:xfrm>
            <a:off x="4082091" y="799709"/>
            <a:ext cx="5399211" cy="521208"/>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lang="en-US" sz="1800" kern="1200" dirty="0">
                <a:solidFill>
                  <a:srgbClr val="B2606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Continua a piantare i tuoi semi, perché non saprai mai quali cresceranno – forse lo faranno tutti.»</a:t>
            </a:r>
          </a:p>
          <a:p>
            <a:r>
              <a:rPr lang="it-IT" dirty="0"/>
              <a:t>(Albert Einstein)</a:t>
            </a:r>
          </a:p>
        </p:txBody>
      </p:sp>
      <p:grpSp>
        <p:nvGrpSpPr>
          <p:cNvPr id="19" name="Gruppo 18">
            <a:extLst>
              <a:ext uri="{FF2B5EF4-FFF2-40B4-BE49-F238E27FC236}">
                <a16:creationId xmlns:a16="http://schemas.microsoft.com/office/drawing/2014/main" id="{D6AFB5F0-9B9A-22F5-4467-3A12F27E08E2}"/>
              </a:ext>
            </a:extLst>
          </p:cNvPr>
          <p:cNvGrpSpPr/>
          <p:nvPr/>
        </p:nvGrpSpPr>
        <p:grpSpPr>
          <a:xfrm>
            <a:off x="6314512" y="461908"/>
            <a:ext cx="684589" cy="114300"/>
            <a:chOff x="9330846" y="5054600"/>
            <a:chExt cx="676275" cy="114300"/>
          </a:xfrm>
        </p:grpSpPr>
        <p:sp>
          <p:nvSpPr>
            <p:cNvPr id="20" name="Ovale 19">
              <a:extLst>
                <a:ext uri="{FF2B5EF4-FFF2-40B4-BE49-F238E27FC236}">
                  <a16:creationId xmlns:a16="http://schemas.microsoft.com/office/drawing/2014/main" id="{B5488994-69C2-CE75-12E6-8DA12C0D55E1}"/>
                </a:ext>
              </a:extLst>
            </p:cNvPr>
            <p:cNvSpPr/>
            <p:nvPr/>
          </p:nvSpPr>
          <p:spPr>
            <a:xfrm>
              <a:off x="933084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21" name="Ovale 20">
              <a:extLst>
                <a:ext uri="{FF2B5EF4-FFF2-40B4-BE49-F238E27FC236}">
                  <a16:creationId xmlns:a16="http://schemas.microsoft.com/office/drawing/2014/main" id="{60FCE599-E806-1D8D-4D5F-24764270F657}"/>
                </a:ext>
              </a:extLst>
            </p:cNvPr>
            <p:cNvSpPr/>
            <p:nvPr/>
          </p:nvSpPr>
          <p:spPr>
            <a:xfrm>
              <a:off x="951817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24" name="Ovale 23">
              <a:extLst>
                <a:ext uri="{FF2B5EF4-FFF2-40B4-BE49-F238E27FC236}">
                  <a16:creationId xmlns:a16="http://schemas.microsoft.com/office/drawing/2014/main" id="{90CC9926-846F-CDC5-A6A9-DA52DD9307A5}"/>
                </a:ext>
              </a:extLst>
            </p:cNvPr>
            <p:cNvSpPr/>
            <p:nvPr/>
          </p:nvSpPr>
          <p:spPr>
            <a:xfrm>
              <a:off x="970549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25" name="Ovale 24">
              <a:extLst>
                <a:ext uri="{FF2B5EF4-FFF2-40B4-BE49-F238E27FC236}">
                  <a16:creationId xmlns:a16="http://schemas.microsoft.com/office/drawing/2014/main" id="{62F5B9A1-7563-8EED-BC02-2A730AF0FD70}"/>
                </a:ext>
              </a:extLst>
            </p:cNvPr>
            <p:cNvSpPr/>
            <p:nvPr/>
          </p:nvSpPr>
          <p:spPr>
            <a:xfrm>
              <a:off x="989282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Tree>
    <p:extLst>
      <p:ext uri="{BB962C8B-B14F-4D97-AF65-F5344CB8AC3E}">
        <p14:creationId xmlns:p14="http://schemas.microsoft.com/office/powerpoint/2010/main" val="5042163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ggetto 11" hidden="1">
            <a:extLst>
              <a:ext uri="{FF2B5EF4-FFF2-40B4-BE49-F238E27FC236}">
                <a16:creationId xmlns:a16="http://schemas.microsoft.com/office/drawing/2014/main" id="{339E7B20-A5FB-10F7-A6FE-A4C14C115B08}"/>
              </a:ext>
            </a:extLst>
          </p:cNvPr>
          <p:cNvGraphicFramePr>
            <a:graphicFrameLocks noChangeAspect="1"/>
          </p:cNvGraphicFramePr>
          <p:nvPr>
            <p:custDataLst>
              <p:tags r:id="rId1"/>
            </p:custDataLst>
            <p:extLst>
              <p:ext uri="{D42A27DB-BD31-4B8C-83A1-F6EECF244321}">
                <p14:modId xmlns:p14="http://schemas.microsoft.com/office/powerpoint/2010/main" val="981149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12" name="Oggetto 11" hidden="1">
                        <a:extLst>
                          <a:ext uri="{FF2B5EF4-FFF2-40B4-BE49-F238E27FC236}">
                            <a16:creationId xmlns:a16="http://schemas.microsoft.com/office/drawing/2014/main" id="{339E7B20-A5FB-10F7-A6FE-A4C14C115B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a:extLst>
              <a:ext uri="{FF2B5EF4-FFF2-40B4-BE49-F238E27FC236}">
                <a16:creationId xmlns:a16="http://schemas.microsoft.com/office/drawing/2014/main" id="{3C2A7DCB-B005-424A-8446-ACA533D0BC8B}"/>
              </a:ext>
            </a:extLst>
          </p:cNvPr>
          <p:cNvPicPr>
            <a:picLocks noGrp="1" noChangeAspect="1"/>
          </p:cNvPicPr>
          <p:nvPr>
            <p:ph type="pic" sz="quarter" idx="10"/>
          </p:nvPr>
        </p:nvPicPr>
        <p:blipFill>
          <a:blip r:embed="rId6"/>
          <a:srcRect/>
          <a:stretch/>
        </p:blipFill>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627378"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dirty="0"/>
              <a:t>3. Qualità dell’impatto</a:t>
            </a:r>
          </a:p>
        </p:txBody>
      </p:sp>
      <p:pic>
        <p:nvPicPr>
          <p:cNvPr id="35" name="Segnaposto contenuto 34" descr="Libro aperto">
            <a:extLst>
              <a:ext uri="{FF2B5EF4-FFF2-40B4-BE49-F238E27FC236}">
                <a16:creationId xmlns:a16="http://schemas.microsoft.com/office/drawing/2014/main" id="{56174A3F-A7B3-40BE-88BD-1796890E4B44}"/>
              </a:ext>
            </a:extLst>
          </p:cNvPr>
          <p:cNvPicPr>
            <a:picLocks noGrp="1" noChangeAspect="1"/>
          </p:cNvPicPr>
          <p:nvPr>
            <p:ph sz="quarter" idx="13"/>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503" y="1388436"/>
            <a:ext cx="548640" cy="548640"/>
          </a:xfrm>
        </p:spPr>
      </p:pic>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a:xfrm>
            <a:off x="731782" y="1493543"/>
            <a:ext cx="7676493" cy="3368675"/>
          </a:xfrm>
        </p:spPr>
        <p:txBody>
          <a:bodyPr rtlCol="0"/>
          <a:lstStyle/>
          <a:p>
            <a:pPr marL="285750" indent="-285750" rtl="0">
              <a:buClr>
                <a:srgbClr val="B2606E"/>
              </a:buClr>
              <a:buFont typeface="Arial" panose="020B0604020202020204" pitchFamily="34" charset="0"/>
              <a:buChar char="•"/>
            </a:pPr>
            <a:r>
              <a:rPr lang="it-IT" dirty="0"/>
              <a:t>L’attività	formativa impegna i partecipanti nella mappatura e valutazione  dell’effettiva acquisizione di </a:t>
            </a:r>
            <a:r>
              <a:rPr lang="it-IT" b="1" dirty="0"/>
              <a:t>nuove competenze </a:t>
            </a:r>
            <a:r>
              <a:rPr lang="it-IT" dirty="0"/>
              <a:t>(competenze in ingresso e in  uscita)?</a:t>
            </a:r>
          </a:p>
          <a:p>
            <a:pPr marL="285750" indent="-285750" rtl="0">
              <a:buClr>
                <a:srgbClr val="B2606E"/>
              </a:buClr>
              <a:buFont typeface="Arial" panose="020B0604020202020204" pitchFamily="34" charset="0"/>
              <a:buChar char="•"/>
            </a:pPr>
            <a:r>
              <a:rPr lang="it-IT" dirty="0"/>
              <a:t>Sono previste attività di </a:t>
            </a:r>
            <a:r>
              <a:rPr lang="it-IT" b="1" dirty="0"/>
              <a:t>peer review </a:t>
            </a:r>
            <a:r>
              <a:rPr lang="it-IT" dirty="0"/>
              <a:t>all’interno di ogni singolo modulo del  percorso formativo?</a:t>
            </a:r>
          </a:p>
          <a:p>
            <a:pPr marL="285750" indent="-285750" rtl="0">
              <a:buClr>
                <a:srgbClr val="B2606E"/>
              </a:buClr>
              <a:buFont typeface="Arial" panose="020B0604020202020204" pitchFamily="34" charset="0"/>
              <a:buChar char="•"/>
            </a:pPr>
            <a:r>
              <a:rPr lang="it-IT" dirty="0"/>
              <a:t>L’attività formativa consente di valutare la ricaduta dei temi trattati nella </a:t>
            </a:r>
            <a:r>
              <a:rPr lang="it-IT" b="1" dirty="0"/>
              <a:t>pratica quotidiana in classe</a:t>
            </a:r>
            <a:r>
              <a:rPr lang="it-IT" dirty="0"/>
              <a:t>?</a:t>
            </a:r>
          </a:p>
          <a:p>
            <a:pPr marL="285750" indent="-285750" rtl="0">
              <a:buClr>
                <a:srgbClr val="B2606E"/>
              </a:buClr>
              <a:buFont typeface="Arial" panose="020B0604020202020204" pitchFamily="34" charset="0"/>
              <a:buChar char="•"/>
            </a:pPr>
            <a:r>
              <a:rPr lang="it-IT" dirty="0"/>
              <a:t>È possibile verificare se l’attività formativa fa </a:t>
            </a:r>
            <a:r>
              <a:rPr lang="it-IT" b="1" dirty="0"/>
              <a:t>aumentare le competenze fondamentali </a:t>
            </a:r>
            <a:r>
              <a:rPr lang="it-IT" dirty="0"/>
              <a:t>degli studenti?</a:t>
            </a:r>
          </a:p>
          <a:p>
            <a:pPr marL="285750" indent="-285750" rtl="0">
              <a:buClr>
                <a:srgbClr val="B2606E"/>
              </a:buClr>
              <a:buFont typeface="Arial" panose="020B0604020202020204" pitchFamily="34" charset="0"/>
              <a:buChar char="•"/>
            </a:pPr>
            <a:r>
              <a:rPr lang="it-IT" dirty="0"/>
              <a:t>Viene indicato come sarà rilevato l’</a:t>
            </a:r>
            <a:r>
              <a:rPr lang="it-IT" b="1" dirty="0"/>
              <a:t>impatto</a:t>
            </a:r>
            <a:r>
              <a:rPr lang="it-IT" dirty="0"/>
              <a:t> a breve e medio termine?</a:t>
            </a:r>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44" name="Segnaposto numero diapositiva 5" descr="Numero diapositiva">
            <a:extLst>
              <a:ext uri="{FF2B5EF4-FFF2-40B4-BE49-F238E27FC236}">
                <a16:creationId xmlns:a16="http://schemas.microsoft.com/office/drawing/2014/main" id="{11457662-C1A5-4B93-8E30-88025E27C462}"/>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38</a:t>
            </a:fld>
            <a:endParaRPr lang="it-IT" sz="1200">
              <a:solidFill>
                <a:schemeClr val="bg1"/>
              </a:solidFill>
            </a:endParaRPr>
          </a:p>
        </p:txBody>
      </p:sp>
      <p:sp>
        <p:nvSpPr>
          <p:cNvPr id="5" name="Sottotitolo 2">
            <a:extLst>
              <a:ext uri="{FF2B5EF4-FFF2-40B4-BE49-F238E27FC236}">
                <a16:creationId xmlns:a16="http://schemas.microsoft.com/office/drawing/2014/main" id="{E1CB609B-91EF-E369-5D88-9EF342CA84E5}"/>
              </a:ext>
            </a:extLst>
          </p:cNvPr>
          <p:cNvSpPr txBox="1">
            <a:spLocks/>
          </p:cNvSpPr>
          <p:nvPr/>
        </p:nvSpPr>
        <p:spPr>
          <a:xfrm>
            <a:off x="2066116" y="4768029"/>
            <a:ext cx="4178808" cy="521208"/>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lang="en-US" sz="1800" kern="1200" dirty="0">
                <a:solidFill>
                  <a:srgbClr val="B2606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Innanzi tutto, l’emozione! Soltanto dopo la comprensione!»</a:t>
            </a:r>
          </a:p>
          <a:p>
            <a:r>
              <a:rPr lang="it-IT" dirty="0"/>
              <a:t>(Paul Gauguin)</a:t>
            </a:r>
          </a:p>
        </p:txBody>
      </p:sp>
      <p:grpSp>
        <p:nvGrpSpPr>
          <p:cNvPr id="6" name="Gruppo 5">
            <a:extLst>
              <a:ext uri="{FF2B5EF4-FFF2-40B4-BE49-F238E27FC236}">
                <a16:creationId xmlns:a16="http://schemas.microsoft.com/office/drawing/2014/main" id="{5E4F504B-C6E7-E26D-C044-F3617D863EEE}"/>
              </a:ext>
            </a:extLst>
          </p:cNvPr>
          <p:cNvGrpSpPr/>
          <p:nvPr/>
        </p:nvGrpSpPr>
        <p:grpSpPr>
          <a:xfrm>
            <a:off x="3817383" y="4430228"/>
            <a:ext cx="676275" cy="114300"/>
            <a:chOff x="9330846" y="5054600"/>
            <a:chExt cx="676275" cy="114300"/>
          </a:xfrm>
        </p:grpSpPr>
        <p:sp>
          <p:nvSpPr>
            <p:cNvPr id="8" name="Ovale 7">
              <a:extLst>
                <a:ext uri="{FF2B5EF4-FFF2-40B4-BE49-F238E27FC236}">
                  <a16:creationId xmlns:a16="http://schemas.microsoft.com/office/drawing/2014/main" id="{94AFC437-ECFA-4EF9-DA65-AA29A240358F}"/>
                </a:ext>
              </a:extLst>
            </p:cNvPr>
            <p:cNvSpPr/>
            <p:nvPr/>
          </p:nvSpPr>
          <p:spPr>
            <a:xfrm>
              <a:off x="933084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3" name="Ovale 12">
              <a:extLst>
                <a:ext uri="{FF2B5EF4-FFF2-40B4-BE49-F238E27FC236}">
                  <a16:creationId xmlns:a16="http://schemas.microsoft.com/office/drawing/2014/main" id="{3AAA7D58-5EF7-29DE-1BDA-7FAD3A4AFD98}"/>
                </a:ext>
              </a:extLst>
            </p:cNvPr>
            <p:cNvSpPr/>
            <p:nvPr/>
          </p:nvSpPr>
          <p:spPr>
            <a:xfrm>
              <a:off x="951817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6" name="Ovale 15">
              <a:extLst>
                <a:ext uri="{FF2B5EF4-FFF2-40B4-BE49-F238E27FC236}">
                  <a16:creationId xmlns:a16="http://schemas.microsoft.com/office/drawing/2014/main" id="{16B1A134-1435-DFE0-11A9-A26E7ABD9858}"/>
                </a:ext>
              </a:extLst>
            </p:cNvPr>
            <p:cNvSpPr/>
            <p:nvPr/>
          </p:nvSpPr>
          <p:spPr>
            <a:xfrm>
              <a:off x="970549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7" name="Ovale 16">
              <a:extLst>
                <a:ext uri="{FF2B5EF4-FFF2-40B4-BE49-F238E27FC236}">
                  <a16:creationId xmlns:a16="http://schemas.microsoft.com/office/drawing/2014/main" id="{122658E9-92CC-5A2B-2BAD-0D123512D10B}"/>
                </a:ext>
              </a:extLst>
            </p:cNvPr>
            <p:cNvSpPr/>
            <p:nvPr/>
          </p:nvSpPr>
          <p:spPr>
            <a:xfrm>
              <a:off x="989282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Tree>
    <p:extLst>
      <p:ext uri="{BB962C8B-B14F-4D97-AF65-F5344CB8AC3E}">
        <p14:creationId xmlns:p14="http://schemas.microsoft.com/office/powerpoint/2010/main" val="21235399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ggetto 11" hidden="1">
            <a:extLst>
              <a:ext uri="{FF2B5EF4-FFF2-40B4-BE49-F238E27FC236}">
                <a16:creationId xmlns:a16="http://schemas.microsoft.com/office/drawing/2014/main" id="{339E7B20-A5FB-10F7-A6FE-A4C14C115B08}"/>
              </a:ext>
            </a:extLst>
          </p:cNvPr>
          <p:cNvGraphicFramePr>
            <a:graphicFrameLocks noChangeAspect="1"/>
          </p:cNvGraphicFramePr>
          <p:nvPr>
            <p:custDataLst>
              <p:tags r:id="rId1"/>
            </p:custDataLst>
            <p:extLst>
              <p:ext uri="{D42A27DB-BD31-4B8C-83A1-F6EECF244321}">
                <p14:modId xmlns:p14="http://schemas.microsoft.com/office/powerpoint/2010/main" val="424807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12" name="Oggetto 11" hidden="1">
                        <a:extLst>
                          <a:ext uri="{FF2B5EF4-FFF2-40B4-BE49-F238E27FC236}">
                            <a16:creationId xmlns:a16="http://schemas.microsoft.com/office/drawing/2014/main" id="{339E7B20-A5FB-10F7-A6FE-A4C14C115B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a:extLst>
              <a:ext uri="{FF2B5EF4-FFF2-40B4-BE49-F238E27FC236}">
                <a16:creationId xmlns:a16="http://schemas.microsoft.com/office/drawing/2014/main" id="{3C2A7DCB-B005-424A-8446-ACA533D0BC8B}"/>
              </a:ext>
            </a:extLst>
          </p:cNvPr>
          <p:cNvPicPr>
            <a:picLocks noGrp="1" noChangeAspect="1"/>
          </p:cNvPicPr>
          <p:nvPr>
            <p:ph type="pic" sz="quarter" idx="10"/>
          </p:nvPr>
        </p:nvPicPr>
        <p:blipFill>
          <a:blip r:embed="rId6"/>
          <a:srcRect/>
          <a:stretch/>
        </p:blipFill>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627378"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dirty="0"/>
              <a:t>4. Qualità della trasferibilità e della diffusione</a:t>
            </a:r>
          </a:p>
        </p:txBody>
      </p:sp>
      <p:pic>
        <p:nvPicPr>
          <p:cNvPr id="35" name="Segnaposto contenuto 34" descr="Libro aperto">
            <a:extLst>
              <a:ext uri="{FF2B5EF4-FFF2-40B4-BE49-F238E27FC236}">
                <a16:creationId xmlns:a16="http://schemas.microsoft.com/office/drawing/2014/main" id="{56174A3F-A7B3-40BE-88BD-1796890E4B44}"/>
              </a:ext>
            </a:extLst>
          </p:cNvPr>
          <p:cNvPicPr>
            <a:picLocks noGrp="1" noChangeAspect="1"/>
          </p:cNvPicPr>
          <p:nvPr>
            <p:ph sz="quarter" idx="13"/>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7920" y="1101725"/>
            <a:ext cx="548640" cy="548640"/>
          </a:xfrm>
        </p:spPr>
      </p:pic>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a:xfrm>
            <a:off x="697965" y="1101725"/>
            <a:ext cx="7676493" cy="3368675"/>
          </a:xfrm>
        </p:spPr>
        <p:txBody>
          <a:bodyPr rtlCol="0"/>
          <a:lstStyle/>
          <a:p>
            <a:pPr marL="285750" indent="-285750" rtl="0">
              <a:buClr>
                <a:srgbClr val="B2606E"/>
              </a:buClr>
              <a:buFont typeface="Arial" panose="020B0604020202020204" pitchFamily="34" charset="0"/>
              <a:buChar char="•"/>
            </a:pPr>
            <a:r>
              <a:rPr lang="it-IT" dirty="0"/>
              <a:t>I contenuti, le metodologie e le esperienze dell’attività formativa sono </a:t>
            </a:r>
            <a:r>
              <a:rPr lang="it-IT" b="1" dirty="0"/>
              <a:t>trasferibili</a:t>
            </a:r>
            <a:r>
              <a:rPr lang="it-IT" dirty="0"/>
              <a:t> in altri contesti?</a:t>
            </a:r>
          </a:p>
          <a:p>
            <a:pPr marL="285750" indent="-285750" rtl="0">
              <a:buClr>
                <a:srgbClr val="B2606E"/>
              </a:buClr>
              <a:buFont typeface="Arial" panose="020B0604020202020204" pitchFamily="34" charset="0"/>
              <a:buChar char="•"/>
            </a:pPr>
            <a:r>
              <a:rPr lang="it-IT" dirty="0"/>
              <a:t>L’attività formativa impegna i partecipanti, o alcuni tra essi, a diffo</a:t>
            </a:r>
            <a:r>
              <a:rPr lang="it-IT" b="1" dirty="0"/>
              <a:t>ndere i contenuti </a:t>
            </a:r>
            <a:r>
              <a:rPr lang="it-IT" dirty="0"/>
              <a:t>approfonditi e le esperienze realizzate (agli altri docenti della scuola? </a:t>
            </a:r>
          </a:p>
          <a:p>
            <a:pPr marL="285750" indent="-285750" rtl="0">
              <a:buClr>
                <a:srgbClr val="B2606E"/>
              </a:buClr>
              <a:buFont typeface="Arial" panose="020B0604020202020204" pitchFamily="34" charset="0"/>
              <a:buChar char="•"/>
            </a:pPr>
            <a:r>
              <a:rPr lang="it-IT" dirty="0"/>
              <a:t>Agli </a:t>
            </a:r>
            <a:r>
              <a:rPr lang="it-IT" b="1" dirty="0"/>
              <a:t>altri docenti </a:t>
            </a:r>
            <a:r>
              <a:rPr lang="it-IT" dirty="0"/>
              <a:t>della rete? </a:t>
            </a:r>
          </a:p>
          <a:p>
            <a:pPr marL="285750" indent="-285750" rtl="0">
              <a:buClr>
                <a:srgbClr val="B2606E"/>
              </a:buClr>
              <a:buFont typeface="Arial" panose="020B0604020202020204" pitchFamily="34" charset="0"/>
              <a:buChar char="•"/>
            </a:pPr>
            <a:r>
              <a:rPr lang="it-IT" dirty="0"/>
              <a:t>A  </a:t>
            </a:r>
            <a:r>
              <a:rPr lang="it-IT" b="1" dirty="0"/>
              <a:t>tutti i docenti interessati </a:t>
            </a:r>
            <a:r>
              <a:rPr lang="it-IT" dirty="0"/>
              <a:t>tramite pubblicazione in appropriati spazi web o su repository </a:t>
            </a:r>
            <a:r>
              <a:rPr lang="it-IT" sz="1400" spc="-5" dirty="0">
                <a:solidFill>
                  <a:srgbClr val="382F2A"/>
                </a:solidFill>
                <a:latin typeface="Corbel"/>
                <a:cs typeface="Corbel"/>
              </a:rPr>
              <a:t>istituzionali?</a:t>
            </a:r>
          </a:p>
          <a:p>
            <a:pPr marL="285750" indent="-285750" rtl="0">
              <a:buClr>
                <a:srgbClr val="B2606E"/>
              </a:buClr>
              <a:buFont typeface="Arial" panose="020B0604020202020204" pitchFamily="34" charset="0"/>
              <a:buChar char="•"/>
            </a:pPr>
            <a:r>
              <a:rPr lang="it-IT" sz="1400" spc="-5" dirty="0">
                <a:solidFill>
                  <a:srgbClr val="382F2A"/>
                </a:solidFill>
                <a:latin typeface="Corbel"/>
                <a:cs typeface="Corbel"/>
              </a:rPr>
              <a:t>Sono state pianificate attività di “follow-up” (</a:t>
            </a:r>
            <a:r>
              <a:rPr lang="it-IT" sz="1400" b="1" spc="-5" dirty="0">
                <a:solidFill>
                  <a:srgbClr val="382F2A"/>
                </a:solidFill>
                <a:latin typeface="Corbel"/>
                <a:cs typeface="Corbel"/>
              </a:rPr>
              <a:t>controlli periodici</a:t>
            </a:r>
            <a:r>
              <a:rPr lang="it-IT" sz="1400" spc="-5" dirty="0">
                <a:solidFill>
                  <a:srgbClr val="382F2A"/>
                </a:solidFill>
                <a:latin typeface="Corbel"/>
                <a:cs typeface="Corbel"/>
              </a:rPr>
              <a:t>) che richiedono l’applicazione da  parte dei partecipanti di quanto hanno appreso nella loro scuola?</a:t>
            </a:r>
          </a:p>
          <a:p>
            <a:pPr marL="285750" indent="-285750" rtl="0">
              <a:buClr>
                <a:srgbClr val="B2606E"/>
              </a:buClr>
              <a:buFont typeface="Arial" panose="020B0604020202020204" pitchFamily="34" charset="0"/>
              <a:buChar char="•"/>
            </a:pPr>
            <a:r>
              <a:rPr lang="it-IT" sz="1400" spc="-5" dirty="0">
                <a:solidFill>
                  <a:srgbClr val="382F2A"/>
                </a:solidFill>
                <a:latin typeface="Corbel"/>
                <a:cs typeface="Corbel"/>
              </a:rPr>
              <a:t>Il percorso prevede la </a:t>
            </a:r>
            <a:r>
              <a:rPr lang="it-IT" sz="1400" b="1" spc="-5" dirty="0">
                <a:solidFill>
                  <a:srgbClr val="382F2A"/>
                </a:solidFill>
                <a:latin typeface="Corbel"/>
                <a:cs typeface="Corbel"/>
              </a:rPr>
              <a:t>produzione collaborativa di materiali  </a:t>
            </a:r>
            <a:r>
              <a:rPr lang="it-IT" sz="1400" spc="-5" dirty="0">
                <a:solidFill>
                  <a:srgbClr val="382F2A"/>
                </a:solidFill>
                <a:latin typeface="Corbel"/>
                <a:cs typeface="Corbel"/>
              </a:rPr>
              <a:t>spendibili nel proprio contesto  lavorativo?</a:t>
            </a:r>
          </a:p>
          <a:p>
            <a:pPr marL="285750" indent="-285750" rtl="0">
              <a:buClr>
                <a:srgbClr val="B2606E"/>
              </a:buClr>
              <a:buFont typeface="Arial" panose="020B0604020202020204" pitchFamily="34" charset="0"/>
              <a:buChar char="•"/>
            </a:pPr>
            <a:r>
              <a:rPr lang="it-IT" sz="1400" spc="-5" dirty="0">
                <a:solidFill>
                  <a:srgbClr val="382F2A"/>
                </a:solidFill>
                <a:latin typeface="Corbel"/>
                <a:cs typeface="Corbel"/>
              </a:rPr>
              <a:t>I materiali prodotti sono </a:t>
            </a:r>
            <a:r>
              <a:rPr lang="it-IT" sz="1400" b="1" spc="-5" dirty="0">
                <a:solidFill>
                  <a:srgbClr val="382F2A"/>
                </a:solidFill>
                <a:latin typeface="Corbel"/>
                <a:cs typeface="Corbel"/>
              </a:rPr>
              <a:t>condivisi</a:t>
            </a:r>
            <a:r>
              <a:rPr lang="it-IT" sz="1400" spc="-5" dirty="0">
                <a:solidFill>
                  <a:srgbClr val="382F2A"/>
                </a:solidFill>
                <a:latin typeface="Corbel"/>
                <a:cs typeface="Corbel"/>
              </a:rPr>
              <a:t> pubblicamente e rilasciati con licenza aperta?</a:t>
            </a:r>
          </a:p>
          <a:p>
            <a:pPr marL="285750" indent="-285750" rtl="0">
              <a:buClr>
                <a:srgbClr val="B2606E"/>
              </a:buClr>
              <a:buFont typeface="Arial" panose="020B0604020202020204" pitchFamily="34" charset="0"/>
              <a:buChar char="•"/>
            </a:pPr>
            <a:r>
              <a:rPr lang="it-IT" sz="1400" spc="-5" dirty="0">
                <a:solidFill>
                  <a:srgbClr val="382F2A"/>
                </a:solidFill>
                <a:latin typeface="Corbel"/>
                <a:cs typeface="Corbel"/>
              </a:rPr>
              <a:t>L’iniziativa formativa offre l’opportunità di </a:t>
            </a:r>
            <a:r>
              <a:rPr lang="it-IT" sz="1400" b="1" spc="-5" dirty="0">
                <a:solidFill>
                  <a:srgbClr val="382F2A"/>
                </a:solidFill>
                <a:latin typeface="Corbel"/>
                <a:cs typeface="Corbel"/>
              </a:rPr>
              <a:t>apprendimento continuo </a:t>
            </a:r>
            <a:r>
              <a:rPr lang="it-IT" sz="1400" spc="-5" dirty="0">
                <a:solidFill>
                  <a:srgbClr val="382F2A"/>
                </a:solidFill>
                <a:latin typeface="Corbel"/>
                <a:cs typeface="Corbel"/>
              </a:rPr>
              <a:t>attraverso adeguata assistenza  e/o disponibilità di risorse tecniche.</a:t>
            </a:r>
          </a:p>
          <a:p>
            <a:pPr marL="285750" indent="-285750" rtl="0">
              <a:buClr>
                <a:srgbClr val="B2606E"/>
              </a:buClr>
              <a:buFont typeface="Arial" panose="020B0604020202020204" pitchFamily="34" charset="0"/>
              <a:buChar char="•"/>
            </a:pPr>
            <a:r>
              <a:rPr lang="it-IT" sz="1400" spc="-5" dirty="0">
                <a:solidFill>
                  <a:srgbClr val="382F2A"/>
                </a:solidFill>
                <a:latin typeface="Corbel"/>
                <a:cs typeface="Corbel"/>
              </a:rPr>
              <a:t>È prevista la creazione di una </a:t>
            </a:r>
            <a:r>
              <a:rPr lang="it-IT" sz="1400" b="1" spc="-5" dirty="0">
                <a:solidFill>
                  <a:srgbClr val="382F2A"/>
                </a:solidFill>
                <a:latin typeface="Corbel"/>
                <a:cs typeface="Corbel"/>
              </a:rPr>
              <a:t>comunità</a:t>
            </a:r>
            <a:r>
              <a:rPr lang="it-IT" sz="1400" spc="-5" dirty="0">
                <a:solidFill>
                  <a:srgbClr val="382F2A"/>
                </a:solidFill>
                <a:latin typeface="Corbel"/>
                <a:cs typeface="Corbel"/>
              </a:rPr>
              <a:t> di pratica che possa  favorire il confronto tra pari?</a:t>
            </a:r>
          </a:p>
          <a:p>
            <a:pPr marL="285750" indent="-285750" rtl="0">
              <a:buClr>
                <a:srgbClr val="B2606E"/>
              </a:buClr>
              <a:buFont typeface="Arial" panose="020B0604020202020204" pitchFamily="34" charset="0"/>
              <a:buChar char="•"/>
            </a:pPr>
            <a:r>
              <a:rPr lang="it-IT" sz="1400" spc="-5" dirty="0">
                <a:solidFill>
                  <a:srgbClr val="382F2A"/>
                </a:solidFill>
                <a:latin typeface="Corbel"/>
                <a:cs typeface="Corbel"/>
              </a:rPr>
              <a:t>L’iniziativa formativa conduce ad una </a:t>
            </a:r>
            <a:r>
              <a:rPr lang="it-IT" sz="1400" b="1" spc="-5" dirty="0">
                <a:solidFill>
                  <a:srgbClr val="382F2A"/>
                </a:solidFill>
                <a:latin typeface="Corbel"/>
                <a:cs typeface="Corbel"/>
              </a:rPr>
              <a:t>certificazione</a:t>
            </a:r>
            <a:r>
              <a:rPr lang="it-IT" sz="1400" spc="-5" dirty="0">
                <a:solidFill>
                  <a:srgbClr val="382F2A"/>
                </a:solidFill>
                <a:latin typeface="Corbel"/>
                <a:cs typeface="Corbel"/>
              </a:rPr>
              <a:t> da parte di enti terzi e indipendenti?</a:t>
            </a:r>
          </a:p>
          <a:p>
            <a:pPr rtl="0"/>
            <a:endParaRPr lang="it-IT" sz="1400" spc="-5" dirty="0">
              <a:solidFill>
                <a:srgbClr val="382F2A"/>
              </a:solidFill>
              <a:latin typeface="Corbel"/>
              <a:cs typeface="Corbel"/>
            </a:endParaRPr>
          </a:p>
          <a:p>
            <a:pPr rtl="0"/>
            <a:endParaRPr lang="it-IT" dirty="0"/>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44" name="Segnaposto numero diapositiva 5" descr="Numero diapositiva">
            <a:extLst>
              <a:ext uri="{FF2B5EF4-FFF2-40B4-BE49-F238E27FC236}">
                <a16:creationId xmlns:a16="http://schemas.microsoft.com/office/drawing/2014/main" id="{11457662-C1A5-4B93-8E30-88025E27C462}"/>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39</a:t>
            </a:fld>
            <a:endParaRPr lang="it-IT" sz="1200">
              <a:solidFill>
                <a:schemeClr val="bg1"/>
              </a:solidFill>
            </a:endParaRPr>
          </a:p>
        </p:txBody>
      </p:sp>
      <p:sp>
        <p:nvSpPr>
          <p:cNvPr id="5" name="Sottotitolo 2">
            <a:extLst>
              <a:ext uri="{FF2B5EF4-FFF2-40B4-BE49-F238E27FC236}">
                <a16:creationId xmlns:a16="http://schemas.microsoft.com/office/drawing/2014/main" id="{DCA200C6-0BA1-5047-1609-FEA1BBD0F9AD}"/>
              </a:ext>
            </a:extLst>
          </p:cNvPr>
          <p:cNvSpPr txBox="1">
            <a:spLocks/>
          </p:cNvSpPr>
          <p:nvPr/>
        </p:nvSpPr>
        <p:spPr>
          <a:xfrm>
            <a:off x="2113106" y="5423752"/>
            <a:ext cx="4178808" cy="521208"/>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lang="en-US" sz="1800" kern="1200" dirty="0">
                <a:solidFill>
                  <a:srgbClr val="B2606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Comunicare è sempre riscoprire che abbiamo tanto in comune, forse tutto».</a:t>
            </a:r>
          </a:p>
          <a:p>
            <a:r>
              <a:rPr lang="it-IT" dirty="0"/>
              <a:t>(Fabrizio Caramagna)</a:t>
            </a:r>
          </a:p>
        </p:txBody>
      </p:sp>
      <p:grpSp>
        <p:nvGrpSpPr>
          <p:cNvPr id="6" name="Gruppo 5">
            <a:extLst>
              <a:ext uri="{FF2B5EF4-FFF2-40B4-BE49-F238E27FC236}">
                <a16:creationId xmlns:a16="http://schemas.microsoft.com/office/drawing/2014/main" id="{605F1DD7-55B1-5352-B273-648A8B8838B5}"/>
              </a:ext>
            </a:extLst>
          </p:cNvPr>
          <p:cNvGrpSpPr/>
          <p:nvPr/>
        </p:nvGrpSpPr>
        <p:grpSpPr>
          <a:xfrm>
            <a:off x="3864373" y="5085951"/>
            <a:ext cx="676275" cy="114300"/>
            <a:chOff x="9330846" y="5054600"/>
            <a:chExt cx="676275" cy="114300"/>
          </a:xfrm>
        </p:grpSpPr>
        <p:sp>
          <p:nvSpPr>
            <p:cNvPr id="8" name="Ovale 7">
              <a:extLst>
                <a:ext uri="{FF2B5EF4-FFF2-40B4-BE49-F238E27FC236}">
                  <a16:creationId xmlns:a16="http://schemas.microsoft.com/office/drawing/2014/main" id="{75D2BA69-6ED3-CEB5-7F22-DA1DB3F55866}"/>
                </a:ext>
              </a:extLst>
            </p:cNvPr>
            <p:cNvSpPr/>
            <p:nvPr/>
          </p:nvSpPr>
          <p:spPr>
            <a:xfrm>
              <a:off x="933084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3" name="Ovale 12">
              <a:extLst>
                <a:ext uri="{FF2B5EF4-FFF2-40B4-BE49-F238E27FC236}">
                  <a16:creationId xmlns:a16="http://schemas.microsoft.com/office/drawing/2014/main" id="{D225630C-90E1-1706-6851-2D2DB9AE6C24}"/>
                </a:ext>
              </a:extLst>
            </p:cNvPr>
            <p:cNvSpPr/>
            <p:nvPr/>
          </p:nvSpPr>
          <p:spPr>
            <a:xfrm>
              <a:off x="951817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6" name="Ovale 15">
              <a:extLst>
                <a:ext uri="{FF2B5EF4-FFF2-40B4-BE49-F238E27FC236}">
                  <a16:creationId xmlns:a16="http://schemas.microsoft.com/office/drawing/2014/main" id="{9F75AF7D-0AF3-0441-D745-73C181C5DF3A}"/>
                </a:ext>
              </a:extLst>
            </p:cNvPr>
            <p:cNvSpPr/>
            <p:nvPr/>
          </p:nvSpPr>
          <p:spPr>
            <a:xfrm>
              <a:off x="970549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7" name="Ovale 16">
              <a:extLst>
                <a:ext uri="{FF2B5EF4-FFF2-40B4-BE49-F238E27FC236}">
                  <a16:creationId xmlns:a16="http://schemas.microsoft.com/office/drawing/2014/main" id="{E599DE04-A709-B4FC-B7DB-A5F9A92C1879}"/>
                </a:ext>
              </a:extLst>
            </p:cNvPr>
            <p:cNvSpPr/>
            <p:nvPr/>
          </p:nvSpPr>
          <p:spPr>
            <a:xfrm>
              <a:off x="989282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Tree>
    <p:extLst>
      <p:ext uri="{BB962C8B-B14F-4D97-AF65-F5344CB8AC3E}">
        <p14:creationId xmlns:p14="http://schemas.microsoft.com/office/powerpoint/2010/main" val="27323016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01FCCB21-B85B-EE77-1988-F1A83BE48A87}"/>
              </a:ext>
            </a:extLst>
          </p:cNvPr>
          <p:cNvGraphicFramePr>
            <a:graphicFrameLocks noChangeAspect="1"/>
          </p:cNvGraphicFramePr>
          <p:nvPr>
            <p:custDataLst>
              <p:tags r:id="rId1"/>
            </p:custDataLst>
            <p:extLst>
              <p:ext uri="{D42A27DB-BD31-4B8C-83A1-F6EECF244321}">
                <p14:modId xmlns:p14="http://schemas.microsoft.com/office/powerpoint/2010/main" val="403821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2" name="Oggetto 1" hidden="1">
                        <a:extLst>
                          <a:ext uri="{FF2B5EF4-FFF2-40B4-BE49-F238E27FC236}">
                            <a16:creationId xmlns:a16="http://schemas.microsoft.com/office/drawing/2014/main" id="{01FCCB21-B85B-EE77-1988-F1A83BE48A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a:extLst>
              <a:ext uri="{FF2B5EF4-FFF2-40B4-BE49-F238E27FC236}">
                <a16:creationId xmlns:a16="http://schemas.microsoft.com/office/drawing/2014/main" id="{3111B687-3781-4457-A624-86311FC69082}"/>
              </a:ext>
            </a:extLst>
          </p:cNvPr>
          <p:cNvPicPr>
            <a:picLocks noGrp="1" noChangeAspect="1"/>
          </p:cNvPicPr>
          <p:nvPr>
            <p:ph type="pic" sz="quarter" idx="10"/>
          </p:nvPr>
        </p:nvPicPr>
        <p:blipFill>
          <a:blip r:embed="rId6"/>
          <a:srcRect l="9050" r="9050"/>
          <a:stretch/>
        </p:blipFill>
        <p:spPr>
          <a:xfrm>
            <a:off x="7940481" y="0"/>
            <a:ext cx="4251519" cy="6858000"/>
          </a:xfrm>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595847"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 uri="{C183D7F6-B498-43B3-948B-1728B52AA6E4}">
                  <adec:decorative xmlns:adec="http://schemas.microsoft.com/office/drawing/2017/decorative" val="1"/>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dirty="0"/>
              <a:t>Che tipo di formazione siamo chiamati a progettare?</a:t>
            </a:r>
          </a:p>
        </p:txBody>
      </p:sp>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a:xfrm>
            <a:off x="633185" y="1114097"/>
            <a:ext cx="3034089" cy="3368675"/>
          </a:xfrm>
        </p:spPr>
        <p:txBody>
          <a:bodyPr rtlCol="0"/>
          <a:lstStyle/>
          <a:p>
            <a:pPr rtl="0"/>
            <a:r>
              <a:rPr lang="it-IT" dirty="0"/>
              <a:t>Il </a:t>
            </a:r>
            <a:r>
              <a:rPr lang="it-IT" b="1" dirty="0"/>
              <a:t>senso</a:t>
            </a:r>
            <a:r>
              <a:rPr lang="it-IT" dirty="0"/>
              <a:t> e la </a:t>
            </a:r>
            <a:r>
              <a:rPr lang="it-IT" b="1" dirty="0"/>
              <a:t>cura</a:t>
            </a:r>
            <a:r>
              <a:rPr lang="it-IT" dirty="0"/>
              <a:t> della </a:t>
            </a:r>
            <a:r>
              <a:rPr lang="it-IT" u="sng" dirty="0"/>
              <a:t>propria</a:t>
            </a:r>
            <a:r>
              <a:rPr lang="it-IT" dirty="0"/>
              <a:t> </a:t>
            </a:r>
            <a:r>
              <a:rPr lang="it-IT" u="sng" dirty="0"/>
              <a:t>formazione</a:t>
            </a:r>
            <a:r>
              <a:rPr lang="it-IT" dirty="0"/>
              <a:t> in servizio, come previsto dalla </a:t>
            </a:r>
            <a:r>
              <a:rPr lang="it-IT" b="1" dirty="0"/>
              <a:t>legge 107/2015</a:t>
            </a:r>
            <a:r>
              <a:rPr lang="it-IT" dirty="0"/>
              <a:t>, non possono essere  interpretati come una generica e ripetitiva “partecipazione a corsi di aggiornamento”, spesso caratterizzata solamente da iniziative frontali, talvolta anche non connessi con le pratiche scolastiche.</a:t>
            </a:r>
          </a:p>
          <a:p>
            <a:r>
              <a:rPr lang="it-IT" dirty="0"/>
              <a:t>Il nuovo profilo di insegnante si caratterizza come il </a:t>
            </a:r>
            <a:r>
              <a:rPr lang="it-IT" b="1" dirty="0"/>
              <a:t>professionista</a:t>
            </a:r>
            <a:r>
              <a:rPr lang="it-IT" dirty="0"/>
              <a:t> </a:t>
            </a:r>
            <a:r>
              <a:rPr lang="it-IT" b="1" dirty="0"/>
              <a:t>riflessivo</a:t>
            </a:r>
            <a:r>
              <a:rPr lang="it-IT" dirty="0"/>
              <a:t>. E’ l’insegnante </a:t>
            </a:r>
            <a:r>
              <a:rPr lang="it-IT" b="1" dirty="0"/>
              <a:t>ricercatore</a:t>
            </a:r>
            <a:r>
              <a:rPr lang="it-IT" dirty="0"/>
              <a:t>, che fa della  continua interrelazione tra ricerca e prassi didattica il punto di forza della propria professionalità.</a:t>
            </a:r>
          </a:p>
          <a:p>
            <a:r>
              <a:rPr lang="it-IT" dirty="0"/>
              <a:t>«Questa la contraddizione. Siamo in procinto di eleggere una regina (la didattica) senza corona se dovesse trovarsi priva della testa regale (la teoria),  ineludibile per governare i processi di alfabetizzazione e di socializzazione del sistema formativo.»</a:t>
            </a:r>
          </a:p>
          <a:p>
            <a:r>
              <a:rPr lang="it-IT" dirty="0"/>
              <a:t>(F. </a:t>
            </a:r>
            <a:r>
              <a:rPr lang="it-IT" dirty="0" err="1"/>
              <a:t>Frabboni</a:t>
            </a:r>
            <a:r>
              <a:rPr lang="it-IT" dirty="0"/>
              <a:t>, Didattica generale: una scienza dell’educazione, 1999 </a:t>
            </a:r>
            <a:r>
              <a:rPr lang="it-IT" dirty="0" err="1"/>
              <a:t>Education</a:t>
            </a:r>
            <a:r>
              <a:rPr lang="it-IT" dirty="0"/>
              <a:t>)</a:t>
            </a:r>
          </a:p>
          <a:p>
            <a:endParaRPr lang="it-IT" dirty="0"/>
          </a:p>
          <a:p>
            <a:pPr rtl="0"/>
            <a:endParaRPr lang="it-IT" dirty="0"/>
          </a:p>
          <a:p>
            <a:pPr rtl="0"/>
            <a:endParaRPr lang="it-IT" dirty="0"/>
          </a:p>
          <a:p>
            <a:pPr rtl="0"/>
            <a:endParaRPr lang="it-IT" dirty="0"/>
          </a:p>
        </p:txBody>
      </p:sp>
      <p:sp>
        <p:nvSpPr>
          <p:cNvPr id="24" name="Segnaposto testo 23" descr="blocco di contenuto 2">
            <a:extLst>
              <a:ext uri="{FF2B5EF4-FFF2-40B4-BE49-F238E27FC236}">
                <a16:creationId xmlns:a16="http://schemas.microsoft.com/office/drawing/2014/main" id="{C3930A4E-1302-4AC9-86A3-C4E8AF186ED8}"/>
              </a:ext>
            </a:extLst>
          </p:cNvPr>
          <p:cNvSpPr>
            <a:spLocks noGrp="1"/>
          </p:cNvSpPr>
          <p:nvPr>
            <p:ph type="body" sz="quarter" idx="12"/>
          </p:nvPr>
        </p:nvSpPr>
        <p:spPr>
          <a:xfrm>
            <a:off x="4386558" y="1114097"/>
            <a:ext cx="3415430" cy="4972381"/>
          </a:xfrm>
        </p:spPr>
        <p:txBody>
          <a:bodyPr rtlCol="0"/>
          <a:lstStyle/>
          <a:p>
            <a:pPr marL="12700" marR="5080">
              <a:lnSpc>
                <a:spcPct val="100299"/>
              </a:lnSpc>
              <a:spcBef>
                <a:spcPts val="100"/>
              </a:spcBef>
            </a:pPr>
            <a:r>
              <a:rPr lang="it-IT" sz="1400" b="1" dirty="0">
                <a:latin typeface="Corbel"/>
                <a:cs typeface="Corbel"/>
              </a:rPr>
              <a:t>Learning by </a:t>
            </a:r>
            <a:r>
              <a:rPr lang="it-IT" sz="1400" b="1" dirty="0" err="1">
                <a:latin typeface="Corbel"/>
                <a:cs typeface="Corbel"/>
              </a:rPr>
              <a:t>doing</a:t>
            </a:r>
            <a:r>
              <a:rPr lang="it-IT" sz="1400" dirty="0">
                <a:latin typeface="Corbel"/>
                <a:cs typeface="Corbel"/>
              </a:rPr>
              <a:t>, </a:t>
            </a:r>
            <a:r>
              <a:rPr lang="it-IT" sz="1400" spc="-5" dirty="0">
                <a:latin typeface="Corbel"/>
                <a:cs typeface="Corbel"/>
              </a:rPr>
              <a:t>imparare facendo, imparare </a:t>
            </a:r>
            <a:r>
              <a:rPr lang="it-IT" sz="1400" dirty="0">
                <a:latin typeface="Corbel"/>
                <a:cs typeface="Corbel"/>
              </a:rPr>
              <a:t>attraverso </a:t>
            </a:r>
            <a:r>
              <a:rPr lang="it-IT" sz="1400" spc="-5" dirty="0">
                <a:latin typeface="Corbel"/>
                <a:cs typeface="Corbel"/>
              </a:rPr>
              <a:t>il fare. </a:t>
            </a:r>
            <a:r>
              <a:rPr lang="it-IT" sz="1400" spc="-200" dirty="0">
                <a:latin typeface="Corbel"/>
                <a:cs typeface="Corbel"/>
              </a:rPr>
              <a:t> </a:t>
            </a:r>
            <a:r>
              <a:rPr lang="it-IT" sz="1400" spc="-5" dirty="0">
                <a:latin typeface="Corbel"/>
                <a:cs typeface="Corbel"/>
              </a:rPr>
              <a:t>l'imparare non </a:t>
            </a:r>
            <a:r>
              <a:rPr lang="it-IT" sz="1400" dirty="0">
                <a:latin typeface="Corbel"/>
                <a:cs typeface="Corbel"/>
              </a:rPr>
              <a:t>è solo </a:t>
            </a:r>
            <a:r>
              <a:rPr lang="it-IT" sz="1400" spc="-5" dirty="0">
                <a:latin typeface="Corbel"/>
                <a:cs typeface="Corbel"/>
              </a:rPr>
              <a:t>il memorizzare, </a:t>
            </a:r>
            <a:r>
              <a:rPr lang="it-IT" sz="1400" dirty="0">
                <a:latin typeface="Corbel"/>
                <a:cs typeface="Corbel"/>
              </a:rPr>
              <a:t>ma anche e </a:t>
            </a:r>
            <a:r>
              <a:rPr lang="it-IT" sz="1400" spc="-5" dirty="0">
                <a:latin typeface="Corbel"/>
                <a:cs typeface="Corbel"/>
              </a:rPr>
              <a:t>soprattutto il </a:t>
            </a:r>
            <a:r>
              <a:rPr lang="it-IT" sz="1400" dirty="0">
                <a:latin typeface="Corbel"/>
                <a:cs typeface="Corbel"/>
              </a:rPr>
              <a:t> </a:t>
            </a:r>
            <a:r>
              <a:rPr lang="it-IT" sz="1400" spc="-5" dirty="0">
                <a:latin typeface="Corbel"/>
                <a:cs typeface="Corbel"/>
              </a:rPr>
              <a:t>comprendere. non </a:t>
            </a:r>
            <a:r>
              <a:rPr lang="it-IT" sz="1400" dirty="0">
                <a:latin typeface="Corbel"/>
                <a:cs typeface="Corbel"/>
              </a:rPr>
              <a:t>si </a:t>
            </a:r>
            <a:r>
              <a:rPr lang="it-IT" sz="1400" spc="-5" dirty="0">
                <a:latin typeface="Corbel"/>
                <a:cs typeface="Corbel"/>
              </a:rPr>
              <a:t>apprende </a:t>
            </a:r>
            <a:r>
              <a:rPr lang="it-IT" sz="1400" dirty="0">
                <a:latin typeface="Corbel"/>
                <a:cs typeface="Corbel"/>
              </a:rPr>
              <a:t>attraverso </a:t>
            </a:r>
            <a:r>
              <a:rPr lang="it-IT" sz="1400" spc="-5" dirty="0">
                <a:latin typeface="Corbel"/>
                <a:cs typeface="Corbel"/>
              </a:rPr>
              <a:t>il mero fare, la semplice </a:t>
            </a:r>
            <a:r>
              <a:rPr lang="it-IT" sz="1400" spc="-200" dirty="0">
                <a:latin typeface="Corbel"/>
                <a:cs typeface="Corbel"/>
              </a:rPr>
              <a:t> </a:t>
            </a:r>
            <a:r>
              <a:rPr lang="it-IT" sz="1400" dirty="0">
                <a:latin typeface="Corbel"/>
                <a:cs typeface="Corbel"/>
              </a:rPr>
              <a:t>attività</a:t>
            </a:r>
            <a:r>
              <a:rPr lang="it-IT" sz="1400" spc="-45" dirty="0">
                <a:latin typeface="Corbel"/>
                <a:cs typeface="Corbel"/>
              </a:rPr>
              <a:t> </a:t>
            </a:r>
            <a:r>
              <a:rPr lang="it-IT" sz="1400" spc="-5" dirty="0">
                <a:latin typeface="Corbel"/>
                <a:cs typeface="Corbel"/>
              </a:rPr>
              <a:t>non</a:t>
            </a:r>
            <a:r>
              <a:rPr lang="it-IT" sz="1400" dirty="0">
                <a:latin typeface="Corbel"/>
                <a:cs typeface="Corbel"/>
              </a:rPr>
              <a:t> accompagnata</a:t>
            </a:r>
            <a:r>
              <a:rPr lang="it-IT" sz="1400" spc="-45" dirty="0">
                <a:latin typeface="Corbel"/>
                <a:cs typeface="Corbel"/>
              </a:rPr>
              <a:t> </a:t>
            </a:r>
            <a:r>
              <a:rPr lang="it-IT" sz="1400" spc="-5" dirty="0">
                <a:latin typeface="Corbel"/>
                <a:cs typeface="Corbel"/>
              </a:rPr>
              <a:t>dal</a:t>
            </a:r>
            <a:r>
              <a:rPr lang="it-IT" sz="1400" spc="-15" dirty="0">
                <a:latin typeface="Corbel"/>
                <a:cs typeface="Corbel"/>
              </a:rPr>
              <a:t> </a:t>
            </a:r>
            <a:r>
              <a:rPr lang="it-IT" sz="1400" spc="-5" dirty="0">
                <a:latin typeface="Corbel"/>
                <a:cs typeface="Corbel"/>
              </a:rPr>
              <a:t>pensiero,</a:t>
            </a:r>
            <a:r>
              <a:rPr lang="it-IT" sz="1400" spc="-25" dirty="0">
                <a:latin typeface="Corbel"/>
                <a:cs typeface="Corbel"/>
              </a:rPr>
              <a:t> </a:t>
            </a:r>
            <a:r>
              <a:rPr lang="it-IT" sz="1400" spc="-5" dirty="0">
                <a:latin typeface="Corbel"/>
                <a:cs typeface="Corbel"/>
              </a:rPr>
              <a:t>dalla</a:t>
            </a:r>
            <a:r>
              <a:rPr lang="it-IT" sz="1400" spc="-10" dirty="0">
                <a:latin typeface="Corbel"/>
                <a:cs typeface="Corbel"/>
              </a:rPr>
              <a:t> </a:t>
            </a:r>
            <a:r>
              <a:rPr lang="it-IT" sz="1400" spc="-5" dirty="0">
                <a:latin typeface="Corbel"/>
                <a:cs typeface="Corbel"/>
              </a:rPr>
              <a:t>riflessione.</a:t>
            </a:r>
            <a:endParaRPr lang="it-IT" sz="1400" dirty="0">
              <a:latin typeface="Corbel"/>
              <a:cs typeface="Corbel"/>
            </a:endParaRPr>
          </a:p>
          <a:p>
            <a:pPr marL="12700" marR="24765">
              <a:lnSpc>
                <a:spcPct val="100000"/>
              </a:lnSpc>
            </a:pPr>
            <a:r>
              <a:rPr lang="it-IT" sz="1400" dirty="0">
                <a:latin typeface="Corbel"/>
                <a:cs typeface="Corbel"/>
              </a:rPr>
              <a:t>Attraverso </a:t>
            </a:r>
            <a:r>
              <a:rPr lang="it-IT" sz="1400" spc="-5" dirty="0">
                <a:latin typeface="Corbel"/>
                <a:cs typeface="Corbel"/>
              </a:rPr>
              <a:t>le semplici azioni </a:t>
            </a:r>
            <a:r>
              <a:rPr lang="it-IT" sz="1400" dirty="0">
                <a:latin typeface="Corbel"/>
                <a:cs typeface="Corbel"/>
              </a:rPr>
              <a:t>si </a:t>
            </a:r>
            <a:r>
              <a:rPr lang="it-IT" sz="1400" spc="-5" dirty="0">
                <a:latin typeface="Corbel"/>
                <a:cs typeface="Corbel"/>
              </a:rPr>
              <a:t>memorizzano azioni meccaniche. </a:t>
            </a:r>
            <a:r>
              <a:rPr lang="it-IT" sz="1400" dirty="0">
                <a:latin typeface="Corbel"/>
                <a:cs typeface="Corbel"/>
              </a:rPr>
              <a:t> Ma per </a:t>
            </a:r>
            <a:r>
              <a:rPr lang="it-IT" sz="1400" spc="-5" dirty="0">
                <a:latin typeface="Corbel"/>
                <a:cs typeface="Corbel"/>
              </a:rPr>
              <a:t>comprendere </a:t>
            </a:r>
            <a:r>
              <a:rPr lang="it-IT" sz="1400" dirty="0">
                <a:latin typeface="Corbel"/>
                <a:cs typeface="Corbel"/>
              </a:rPr>
              <a:t>deve </a:t>
            </a:r>
            <a:r>
              <a:rPr lang="it-IT" sz="1400" spc="-5" dirty="0">
                <a:latin typeface="Corbel"/>
                <a:cs typeface="Corbel"/>
              </a:rPr>
              <a:t>intervenire la riflessione, il pensiero. Occorre riflettere, </a:t>
            </a:r>
            <a:r>
              <a:rPr lang="it-IT" sz="1400" dirty="0">
                <a:latin typeface="Corbel"/>
                <a:cs typeface="Corbel"/>
              </a:rPr>
              <a:t>pensare, </a:t>
            </a:r>
            <a:r>
              <a:rPr lang="it-IT" sz="1400" spc="-5" dirty="0">
                <a:latin typeface="Corbel"/>
                <a:cs typeface="Corbel"/>
              </a:rPr>
              <a:t>acquisire </a:t>
            </a:r>
            <a:r>
              <a:rPr lang="it-IT" sz="1400" dirty="0">
                <a:latin typeface="Corbel"/>
                <a:cs typeface="Corbel"/>
              </a:rPr>
              <a:t>consapevolezza </a:t>
            </a:r>
            <a:r>
              <a:rPr lang="it-IT" sz="1400" spc="-5" dirty="0">
                <a:latin typeface="Corbel"/>
                <a:cs typeface="Corbel"/>
              </a:rPr>
              <a:t>delle azioni. </a:t>
            </a:r>
            <a:r>
              <a:rPr lang="it-IT" sz="1400" spc="-200" dirty="0">
                <a:latin typeface="Corbel"/>
                <a:cs typeface="Corbel"/>
              </a:rPr>
              <a:t> </a:t>
            </a:r>
            <a:r>
              <a:rPr lang="it-IT" sz="1400" spc="-10" dirty="0">
                <a:latin typeface="Corbel"/>
                <a:cs typeface="Corbel"/>
              </a:rPr>
              <a:t>All’azione</a:t>
            </a:r>
            <a:r>
              <a:rPr lang="it-IT" sz="1400" spc="10" dirty="0">
                <a:latin typeface="Corbel"/>
                <a:cs typeface="Corbel"/>
              </a:rPr>
              <a:t> </a:t>
            </a:r>
            <a:r>
              <a:rPr lang="it-IT" sz="1400" dirty="0">
                <a:latin typeface="Corbel"/>
                <a:cs typeface="Corbel"/>
              </a:rPr>
              <a:t>si</a:t>
            </a:r>
            <a:r>
              <a:rPr lang="it-IT" sz="1400" spc="-15" dirty="0">
                <a:latin typeface="Corbel"/>
                <a:cs typeface="Corbel"/>
              </a:rPr>
              <a:t> </a:t>
            </a:r>
            <a:r>
              <a:rPr lang="it-IT" sz="1400" dirty="0">
                <a:latin typeface="Corbel"/>
                <a:cs typeface="Corbel"/>
              </a:rPr>
              <a:t>deve</a:t>
            </a:r>
            <a:r>
              <a:rPr lang="it-IT" sz="1400" spc="-25" dirty="0">
                <a:latin typeface="Corbel"/>
                <a:cs typeface="Corbel"/>
              </a:rPr>
              <a:t> </a:t>
            </a:r>
            <a:r>
              <a:rPr lang="it-IT" sz="1400" spc="-5" dirty="0">
                <a:latin typeface="Corbel"/>
                <a:cs typeface="Corbel"/>
              </a:rPr>
              <a:t>accompagnare</a:t>
            </a:r>
            <a:r>
              <a:rPr lang="it-IT" sz="1400" spc="-25" dirty="0">
                <a:latin typeface="Corbel"/>
                <a:cs typeface="Corbel"/>
              </a:rPr>
              <a:t> </a:t>
            </a:r>
            <a:r>
              <a:rPr lang="it-IT" sz="1400" spc="-5" dirty="0">
                <a:latin typeface="Corbel"/>
                <a:cs typeface="Corbel"/>
              </a:rPr>
              <a:t>il</a:t>
            </a:r>
            <a:r>
              <a:rPr lang="it-IT" sz="1400" spc="5" dirty="0">
                <a:latin typeface="Corbel"/>
                <a:cs typeface="Corbel"/>
              </a:rPr>
              <a:t> </a:t>
            </a:r>
            <a:r>
              <a:rPr lang="it-IT" sz="1400" spc="-5" dirty="0">
                <a:latin typeface="Corbel"/>
                <a:cs typeface="Corbel"/>
              </a:rPr>
              <a:t>pensiero:</a:t>
            </a:r>
            <a:r>
              <a:rPr lang="it-IT" sz="1400" spc="-20" dirty="0">
                <a:latin typeface="Corbel"/>
                <a:cs typeface="Corbel"/>
              </a:rPr>
              <a:t> </a:t>
            </a:r>
            <a:r>
              <a:rPr lang="it-IT" sz="1400" spc="-5" dirty="0">
                <a:latin typeface="Corbel"/>
                <a:cs typeface="Corbel"/>
              </a:rPr>
              <a:t>quindi</a:t>
            </a:r>
            <a:r>
              <a:rPr lang="it-IT" sz="1400" spc="15" dirty="0">
                <a:latin typeface="Corbel"/>
                <a:cs typeface="Corbel"/>
              </a:rPr>
              <a:t> </a:t>
            </a:r>
            <a:r>
              <a:rPr lang="it-IT" sz="1400" b="1" dirty="0">
                <a:latin typeface="Corbel"/>
                <a:cs typeface="Corbel"/>
              </a:rPr>
              <a:t>learning</a:t>
            </a:r>
            <a:r>
              <a:rPr lang="it-IT" sz="1400" b="1" spc="-10" dirty="0">
                <a:latin typeface="Corbel"/>
                <a:cs typeface="Corbel"/>
              </a:rPr>
              <a:t> </a:t>
            </a:r>
            <a:r>
              <a:rPr lang="it-IT" sz="1400" b="1" spc="-5" dirty="0">
                <a:latin typeface="Corbel"/>
                <a:cs typeface="Corbel"/>
              </a:rPr>
              <a:t>by </a:t>
            </a:r>
            <a:r>
              <a:rPr lang="it-IT" sz="1400" b="1" dirty="0" err="1">
                <a:latin typeface="Corbel"/>
                <a:cs typeface="Corbel"/>
              </a:rPr>
              <a:t>doing</a:t>
            </a:r>
            <a:r>
              <a:rPr lang="it-IT" sz="1400" dirty="0">
                <a:latin typeface="Corbel"/>
                <a:cs typeface="Corbel"/>
              </a:rPr>
              <a:t>,</a:t>
            </a:r>
            <a:r>
              <a:rPr lang="it-IT" sz="1400" spc="-25" dirty="0">
                <a:latin typeface="Corbel"/>
                <a:cs typeface="Corbel"/>
              </a:rPr>
              <a:t> </a:t>
            </a:r>
            <a:r>
              <a:rPr lang="it-IT" sz="1400" dirty="0">
                <a:latin typeface="Corbel"/>
                <a:cs typeface="Corbel"/>
              </a:rPr>
              <a:t>ma</a:t>
            </a:r>
            <a:r>
              <a:rPr lang="it-IT" sz="1400" spc="-20" dirty="0">
                <a:latin typeface="Corbel"/>
                <a:cs typeface="Corbel"/>
              </a:rPr>
              <a:t> </a:t>
            </a:r>
            <a:r>
              <a:rPr lang="it-IT" sz="1400" dirty="0">
                <a:latin typeface="Corbel"/>
                <a:cs typeface="Corbel"/>
              </a:rPr>
              <a:t>anche</a:t>
            </a:r>
            <a:r>
              <a:rPr lang="it-IT" sz="1400" spc="-10" dirty="0">
                <a:latin typeface="Corbel"/>
                <a:cs typeface="Corbel"/>
              </a:rPr>
              <a:t> </a:t>
            </a:r>
            <a:r>
              <a:rPr lang="it-IT" sz="1400" b="1" dirty="0">
                <a:latin typeface="Corbel"/>
                <a:cs typeface="Corbel"/>
              </a:rPr>
              <a:t>learning</a:t>
            </a:r>
            <a:r>
              <a:rPr lang="it-IT" sz="1400" b="1" spc="-35" dirty="0">
                <a:latin typeface="Corbel"/>
                <a:cs typeface="Corbel"/>
              </a:rPr>
              <a:t> </a:t>
            </a:r>
            <a:r>
              <a:rPr lang="it-IT" sz="1400" b="1" dirty="0">
                <a:latin typeface="Corbel"/>
                <a:cs typeface="Corbel"/>
              </a:rPr>
              <a:t>by</a:t>
            </a:r>
            <a:r>
              <a:rPr lang="it-IT" sz="1400" b="1" spc="-20" dirty="0">
                <a:latin typeface="Corbel"/>
                <a:cs typeface="Corbel"/>
              </a:rPr>
              <a:t> </a:t>
            </a:r>
            <a:r>
              <a:rPr lang="it-IT" sz="1400" b="1" dirty="0">
                <a:latin typeface="Corbel"/>
                <a:cs typeface="Corbel"/>
              </a:rPr>
              <a:t>thinking</a:t>
            </a:r>
            <a:r>
              <a:rPr lang="it-IT" sz="1400" dirty="0">
                <a:latin typeface="Corbel"/>
                <a:cs typeface="Corbel"/>
              </a:rPr>
              <a:t>.</a:t>
            </a:r>
          </a:p>
          <a:p>
            <a:pPr marL="12700" marR="13335">
              <a:lnSpc>
                <a:spcPct val="100000"/>
              </a:lnSpc>
            </a:pPr>
            <a:r>
              <a:rPr lang="it-IT" sz="1400" dirty="0">
                <a:latin typeface="Corbel"/>
                <a:cs typeface="Corbel"/>
              </a:rPr>
              <a:t>Oggi si </a:t>
            </a:r>
            <a:r>
              <a:rPr lang="it-IT" sz="1400" spc="-5" dirty="0">
                <a:latin typeface="Corbel"/>
                <a:cs typeface="Corbel"/>
              </a:rPr>
              <a:t>insiste </a:t>
            </a:r>
            <a:r>
              <a:rPr lang="it-IT" sz="1400" dirty="0">
                <a:latin typeface="Corbel"/>
                <a:cs typeface="Corbel"/>
              </a:rPr>
              <a:t>molto, ed opportunamente, </a:t>
            </a:r>
            <a:r>
              <a:rPr lang="it-IT" sz="1400" spc="-5" dirty="0">
                <a:latin typeface="Corbel"/>
                <a:cs typeface="Corbel"/>
              </a:rPr>
              <a:t>sulla </a:t>
            </a:r>
            <a:r>
              <a:rPr lang="it-IT" sz="1400" b="1" dirty="0">
                <a:latin typeface="Corbel"/>
                <a:cs typeface="Corbel"/>
              </a:rPr>
              <a:t>metacognizione</a:t>
            </a:r>
            <a:r>
              <a:rPr lang="it-IT" sz="1400" dirty="0">
                <a:latin typeface="Corbel"/>
                <a:cs typeface="Corbel"/>
              </a:rPr>
              <a:t>: </a:t>
            </a:r>
            <a:r>
              <a:rPr lang="it-IT" sz="1400" spc="-5" dirty="0">
                <a:latin typeface="Corbel"/>
                <a:cs typeface="Corbel"/>
              </a:rPr>
              <a:t>non </a:t>
            </a:r>
            <a:r>
              <a:rPr lang="it-IT" sz="1400" dirty="0">
                <a:latin typeface="Corbel"/>
                <a:cs typeface="Corbel"/>
              </a:rPr>
              <a:t>basta </a:t>
            </a:r>
            <a:r>
              <a:rPr lang="it-IT" sz="1400" spc="-5" dirty="0">
                <a:latin typeface="Corbel"/>
                <a:cs typeface="Corbel"/>
              </a:rPr>
              <a:t>agire, manipolare, operare, fare; </a:t>
            </a:r>
            <a:r>
              <a:rPr lang="it-IT" sz="1400" dirty="0">
                <a:latin typeface="Corbel"/>
                <a:cs typeface="Corbel"/>
              </a:rPr>
              <a:t>è </a:t>
            </a:r>
            <a:r>
              <a:rPr lang="it-IT" sz="1400" spc="-5" dirty="0">
                <a:latin typeface="Corbel"/>
                <a:cs typeface="Corbel"/>
              </a:rPr>
              <a:t>necessario riflettere, </a:t>
            </a:r>
            <a:r>
              <a:rPr lang="it-IT" sz="1400" dirty="0">
                <a:latin typeface="Corbel"/>
                <a:cs typeface="Corbel"/>
              </a:rPr>
              <a:t> pensare.</a:t>
            </a:r>
          </a:p>
          <a:p>
            <a:pPr rtl="0"/>
            <a:endParaRPr lang="it-IT" dirty="0"/>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7" name="Segnaposto numero diapositiva 5" descr="Numero diapositiva">
            <a:extLst>
              <a:ext uri="{FF2B5EF4-FFF2-40B4-BE49-F238E27FC236}">
                <a16:creationId xmlns:a16="http://schemas.microsoft.com/office/drawing/2014/main" id="{79161314-0A22-4109-A2B1-41E87EFE1E18}"/>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4</a:t>
            </a:fld>
            <a:endParaRPr lang="it-IT" sz="1200">
              <a:solidFill>
                <a:schemeClr val="bg1"/>
              </a:solidFill>
            </a:endParaRPr>
          </a:p>
        </p:txBody>
      </p:sp>
      <p:sp>
        <p:nvSpPr>
          <p:cNvPr id="12" name="CasellaDiTesto 11">
            <a:extLst>
              <a:ext uri="{FF2B5EF4-FFF2-40B4-BE49-F238E27FC236}">
                <a16:creationId xmlns:a16="http://schemas.microsoft.com/office/drawing/2014/main" id="{420555D1-BE7A-9491-CF03-BBFF83D1FB33}"/>
              </a:ext>
            </a:extLst>
          </p:cNvPr>
          <p:cNvSpPr txBox="1"/>
          <p:nvPr/>
        </p:nvSpPr>
        <p:spPr>
          <a:xfrm>
            <a:off x="4303876" y="5234600"/>
            <a:ext cx="6096000" cy="1528624"/>
          </a:xfrm>
          <a:prstGeom prst="rect">
            <a:avLst/>
          </a:prstGeom>
          <a:noFill/>
        </p:spPr>
        <p:txBody>
          <a:bodyPr wrap="square">
            <a:spAutoFit/>
          </a:bodyPr>
          <a:lstStyle/>
          <a:p>
            <a:pPr marL="312420" indent="-300355">
              <a:lnSpc>
                <a:spcPct val="100000"/>
              </a:lnSpc>
              <a:spcBef>
                <a:spcPts val="105"/>
              </a:spcBef>
              <a:buClr>
                <a:srgbClr val="B2606E"/>
              </a:buClr>
              <a:buSzPct val="78571"/>
              <a:buFont typeface="Arial MT"/>
              <a:buChar char="•"/>
              <a:tabLst>
                <a:tab pos="312420" algn="l"/>
                <a:tab pos="313055" algn="l"/>
              </a:tabLst>
            </a:pPr>
            <a:r>
              <a:rPr lang="it-IT" sz="1800" dirty="0">
                <a:latin typeface="Calibri"/>
                <a:cs typeface="Calibri"/>
              </a:rPr>
              <a:t>Non</a:t>
            </a:r>
            <a:r>
              <a:rPr lang="it-IT" sz="1800" spc="-35" dirty="0">
                <a:latin typeface="Calibri"/>
                <a:cs typeface="Calibri"/>
              </a:rPr>
              <a:t> </a:t>
            </a:r>
            <a:r>
              <a:rPr lang="it-IT" sz="1800" dirty="0">
                <a:latin typeface="Calibri"/>
                <a:cs typeface="Calibri"/>
              </a:rPr>
              <a:t>solo</a:t>
            </a:r>
            <a:r>
              <a:rPr lang="it-IT" sz="1800" spc="-40" dirty="0">
                <a:latin typeface="Calibri"/>
                <a:cs typeface="Calibri"/>
              </a:rPr>
              <a:t> </a:t>
            </a:r>
            <a:r>
              <a:rPr lang="it-IT" sz="1800" spc="-5" dirty="0">
                <a:latin typeface="Calibri"/>
                <a:cs typeface="Calibri"/>
              </a:rPr>
              <a:t>teoria</a:t>
            </a:r>
          </a:p>
          <a:p>
            <a:pPr marL="312420" indent="-300355">
              <a:spcBef>
                <a:spcPts val="105"/>
              </a:spcBef>
              <a:buClr>
                <a:srgbClr val="B2606E"/>
              </a:buClr>
              <a:buSzPct val="78571"/>
              <a:buFont typeface="Arial MT"/>
              <a:buChar char="•"/>
              <a:tabLst>
                <a:tab pos="312420" algn="l"/>
                <a:tab pos="313055" algn="l"/>
              </a:tabLst>
            </a:pPr>
            <a:r>
              <a:rPr lang="it-IT" sz="1800" dirty="0">
                <a:latin typeface="Calibri"/>
                <a:cs typeface="Calibri"/>
              </a:rPr>
              <a:t>Non</a:t>
            </a:r>
            <a:r>
              <a:rPr lang="it-IT" sz="1800" spc="-35" dirty="0">
                <a:latin typeface="Calibri"/>
                <a:cs typeface="Calibri"/>
              </a:rPr>
              <a:t> </a:t>
            </a:r>
            <a:r>
              <a:rPr lang="it-IT" sz="1800" dirty="0">
                <a:latin typeface="Calibri"/>
                <a:cs typeface="Calibri"/>
              </a:rPr>
              <a:t>solo</a:t>
            </a:r>
            <a:r>
              <a:rPr lang="it-IT" sz="1800" spc="-50" dirty="0">
                <a:latin typeface="Calibri"/>
                <a:cs typeface="Calibri"/>
              </a:rPr>
              <a:t> </a:t>
            </a:r>
            <a:r>
              <a:rPr lang="it-IT" sz="1800" spc="-5" dirty="0">
                <a:latin typeface="Calibri"/>
                <a:cs typeface="Calibri"/>
              </a:rPr>
              <a:t>prassi</a:t>
            </a:r>
            <a:endParaRPr lang="it-IT" sz="1800" dirty="0">
              <a:latin typeface="Calibri"/>
              <a:cs typeface="Calibri"/>
            </a:endParaRPr>
          </a:p>
          <a:p>
            <a:pPr marL="312420" indent="-300355">
              <a:spcBef>
                <a:spcPts val="105"/>
              </a:spcBef>
              <a:buClr>
                <a:srgbClr val="B2606E"/>
              </a:buClr>
              <a:buSzPct val="78571"/>
              <a:buFont typeface="Arial MT"/>
              <a:buChar char="•"/>
              <a:tabLst>
                <a:tab pos="312420" algn="l"/>
                <a:tab pos="313055" algn="l"/>
              </a:tabLst>
            </a:pPr>
            <a:r>
              <a:rPr lang="it-IT" sz="1800" dirty="0">
                <a:latin typeface="Calibri"/>
                <a:cs typeface="Calibri"/>
              </a:rPr>
              <a:t>Non</a:t>
            </a:r>
            <a:r>
              <a:rPr lang="it-IT" sz="1800" spc="-10" dirty="0">
                <a:latin typeface="Calibri"/>
                <a:cs typeface="Calibri"/>
              </a:rPr>
              <a:t> </a:t>
            </a:r>
            <a:r>
              <a:rPr lang="it-IT" sz="1800" spc="-5" dirty="0">
                <a:latin typeface="Calibri"/>
                <a:cs typeface="Calibri"/>
              </a:rPr>
              <a:t>teoria</a:t>
            </a:r>
            <a:r>
              <a:rPr lang="it-IT" sz="1800" spc="-10" dirty="0">
                <a:latin typeface="Calibri"/>
                <a:cs typeface="Calibri"/>
              </a:rPr>
              <a:t> </a:t>
            </a:r>
            <a:r>
              <a:rPr lang="it-IT" sz="1800" dirty="0">
                <a:latin typeface="Calibri"/>
                <a:cs typeface="Calibri"/>
              </a:rPr>
              <a:t>+</a:t>
            </a:r>
            <a:r>
              <a:rPr lang="it-IT" sz="1800" spc="-5" dirty="0">
                <a:latin typeface="Calibri"/>
                <a:cs typeface="Calibri"/>
              </a:rPr>
              <a:t> prassi</a:t>
            </a:r>
            <a:endParaRPr lang="it-IT" spc="-25" dirty="0">
              <a:latin typeface="Calibri"/>
              <a:cs typeface="Calibri"/>
            </a:endParaRPr>
          </a:p>
          <a:p>
            <a:pPr marL="312420" indent="-300355">
              <a:spcBef>
                <a:spcPts val="105"/>
              </a:spcBef>
              <a:buClr>
                <a:srgbClr val="B2606E"/>
              </a:buClr>
              <a:buSzPct val="78571"/>
              <a:buFont typeface="Arial MT"/>
              <a:buChar char="•"/>
              <a:tabLst>
                <a:tab pos="312420" algn="l"/>
                <a:tab pos="313055" algn="l"/>
              </a:tabLst>
            </a:pPr>
            <a:r>
              <a:rPr lang="it-IT" sz="1800" spc="-25" dirty="0">
                <a:latin typeface="Calibri"/>
                <a:cs typeface="Calibri"/>
              </a:rPr>
              <a:t>M</a:t>
            </a:r>
            <a:r>
              <a:rPr lang="it-IT" sz="1800" spc="-5" dirty="0">
                <a:latin typeface="Calibri"/>
                <a:cs typeface="Calibri"/>
              </a:rPr>
              <a:t>a</a:t>
            </a:r>
            <a:r>
              <a:rPr lang="it-IT" sz="1800" spc="-10" dirty="0">
                <a:latin typeface="Calibri"/>
                <a:cs typeface="Calibri"/>
              </a:rPr>
              <a:t> </a:t>
            </a:r>
            <a:r>
              <a:rPr lang="it-IT" sz="1800" b="1" spc="-5" dirty="0">
                <a:latin typeface="Calibri"/>
                <a:cs typeface="Calibri"/>
              </a:rPr>
              <a:t>teoria/prassi/teoria</a:t>
            </a:r>
            <a:endParaRPr lang="it-IT" sz="1800" b="1" dirty="0">
              <a:latin typeface="Calibri"/>
              <a:cs typeface="Calibri"/>
            </a:endParaRPr>
          </a:p>
          <a:p>
            <a:pPr marL="312420" indent="-300355">
              <a:lnSpc>
                <a:spcPct val="100000"/>
              </a:lnSpc>
              <a:spcBef>
                <a:spcPts val="105"/>
              </a:spcBef>
              <a:buClr>
                <a:srgbClr val="FFCA08"/>
              </a:buClr>
              <a:buSzPct val="78571"/>
              <a:buFont typeface="Arial MT"/>
              <a:buChar char="•"/>
              <a:tabLst>
                <a:tab pos="312420" algn="l"/>
                <a:tab pos="313055" algn="l"/>
              </a:tabLst>
            </a:pPr>
            <a:endParaRPr lang="it-IT" sz="1800" dirty="0">
              <a:latin typeface="Calibri"/>
              <a:cs typeface="Calibri"/>
            </a:endParaRPr>
          </a:p>
        </p:txBody>
      </p:sp>
    </p:spTree>
    <p:extLst>
      <p:ext uri="{BB962C8B-B14F-4D97-AF65-F5344CB8AC3E}">
        <p14:creationId xmlns:p14="http://schemas.microsoft.com/office/powerpoint/2010/main" val="338107394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0243ACF1-4E86-B612-5993-C7373976941E}"/>
              </a:ext>
            </a:extLst>
          </p:cNvPr>
          <p:cNvGraphicFramePr>
            <a:graphicFrameLocks noChangeAspect="1"/>
          </p:cNvGraphicFramePr>
          <p:nvPr>
            <p:custDataLst>
              <p:tags r:id="rId1"/>
            </p:custDataLst>
            <p:extLst>
              <p:ext uri="{D42A27DB-BD31-4B8C-83A1-F6EECF244321}">
                <p14:modId xmlns:p14="http://schemas.microsoft.com/office/powerpoint/2010/main" val="4098573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5" name="Oggetto 4" hidden="1">
                        <a:extLst>
                          <a:ext uri="{FF2B5EF4-FFF2-40B4-BE49-F238E27FC236}">
                            <a16:creationId xmlns:a16="http://schemas.microsoft.com/office/drawing/2014/main" id="{0243ACF1-4E86-B612-5993-C737397694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ttangolo 39">
            <a:extLst>
              <a:ext uri="{FF2B5EF4-FFF2-40B4-BE49-F238E27FC236}">
                <a16:creationId xmlns:a16="http://schemas.microsoft.com/office/drawing/2014/main" id="{2307499E-434B-21DC-9A68-C92EEB7CF6E0}"/>
              </a:ext>
            </a:extLst>
          </p:cNvPr>
          <p:cNvSpPr/>
          <p:nvPr/>
        </p:nvSpPr>
        <p:spPr>
          <a:xfrm>
            <a:off x="9059917" y="4845269"/>
            <a:ext cx="924911" cy="52551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olo 1" descr="titolo">
            <a:extLst>
              <a:ext uri="{FF2B5EF4-FFF2-40B4-BE49-F238E27FC236}">
                <a16:creationId xmlns:a16="http://schemas.microsoft.com/office/drawing/2014/main" id="{28BAA8DA-C40B-4AB9-9407-30FB70335152}"/>
              </a:ext>
            </a:extLst>
          </p:cNvPr>
          <p:cNvSpPr>
            <a:spLocks noGrp="1"/>
          </p:cNvSpPr>
          <p:nvPr>
            <p:ph type="ctrTitle"/>
          </p:nvPr>
        </p:nvSpPr>
        <p:spPr>
          <a:xfrm>
            <a:off x="7274144" y="1291772"/>
            <a:ext cx="4379976" cy="5453586"/>
          </a:xfrm>
          <a:noFill/>
        </p:spPr>
        <p:txBody>
          <a:bodyPr vert="horz" rtlCol="0" anchor="t"/>
          <a:lstStyle/>
          <a:p>
            <a:pPr rtl="0"/>
            <a:r>
              <a:rPr lang="it-IT" sz="2400" dirty="0"/>
              <a:t>Biblioteca delle migliori attività  formative</a:t>
            </a:r>
            <a:br>
              <a:rPr lang="it-IT" sz="2400" dirty="0"/>
            </a:br>
            <a:br>
              <a:rPr lang="it-IT" sz="2400" dirty="0"/>
            </a:br>
            <a:r>
              <a:rPr lang="it-IT" sz="1400" dirty="0"/>
              <a:t>La </a:t>
            </a:r>
            <a:r>
              <a:rPr lang="it-IT" sz="1400" b="1" dirty="0"/>
              <a:t>biblioteca</a:t>
            </a:r>
            <a:r>
              <a:rPr lang="it-IT" sz="1400" dirty="0"/>
              <a:t>, curata e manutenuta da INDIRE, sarà alimentata da alcune delle migliori pratiche già condotte nel nostro sistema negli anni precedenti a questo Piano, e sarà popolata da una raccolta scientificamente argomentata dei </a:t>
            </a:r>
            <a:r>
              <a:rPr lang="it-IT" sz="1400" b="1" dirty="0"/>
              <a:t>migliori progetti formativi </a:t>
            </a:r>
            <a:r>
              <a:rPr lang="it-IT" sz="1400" dirty="0"/>
              <a:t>all’interno dei Piani  nazionali e delle attività organizzate dagli ambiti, da risorse italiane  ed internazionali utili  alla formazione  continua degli insegnanti.</a:t>
            </a:r>
            <a:br>
              <a:rPr lang="it-IT" sz="1400" dirty="0"/>
            </a:br>
            <a:br>
              <a:rPr lang="it-IT" sz="1400" dirty="0"/>
            </a:br>
            <a:r>
              <a:rPr lang="it-IT" sz="1400" dirty="0"/>
              <a:t>il MIUR, con il sostegno di INDIRE, raccoglierà “dal basso”, attraverso le  indicazioni ricevute dalle azioni formative organizzate dalle scuole in rete e dai  piani nazionali che la stessa amministrazione metterà in campo, una banca dati  dei </a:t>
            </a:r>
            <a:r>
              <a:rPr lang="it-IT" sz="1400" b="1" dirty="0"/>
              <a:t>migliori formatori</a:t>
            </a:r>
            <a:r>
              <a:rPr lang="it-IT" sz="1400" dirty="0"/>
              <a:t>.</a:t>
            </a:r>
            <a:br>
              <a:rPr lang="it-IT" sz="1400" dirty="0"/>
            </a:br>
            <a:br>
              <a:rPr lang="it-IT" sz="1400" dirty="0"/>
            </a:br>
            <a:r>
              <a:rPr lang="it-IT" sz="1400" dirty="0"/>
              <a:t>La </a:t>
            </a:r>
            <a:r>
              <a:rPr lang="it-IT" sz="1400" b="1" dirty="0"/>
              <a:t>banca</a:t>
            </a:r>
            <a:r>
              <a:rPr lang="it-IT" sz="1400" dirty="0"/>
              <a:t> dati utilizzerà un format unico di raccolta, adattabile ad ogni contesto  formativo, e conterrà sia indicazioni di carattere professionale (basati sull’esperienza documentata già svolta, sul curriculum formativo e professionale, e  sulla partecipazione attiva in comunità professionali nel contesto della scuola,  ecc.) che valutazioni restituite dalle scuole per i percorsi formativi in cui il  formatore è stato coinvolto.</a:t>
            </a:r>
            <a:br>
              <a:rPr lang="it-IT" sz="1400" dirty="0"/>
            </a:br>
            <a:br>
              <a:rPr lang="it-IT" sz="1400" dirty="0"/>
            </a:br>
            <a:br>
              <a:rPr lang="it-IT" sz="1400" dirty="0"/>
            </a:br>
            <a:endParaRPr lang="it-IT" sz="2400" dirty="0"/>
          </a:p>
        </p:txBody>
      </p:sp>
      <p:pic>
        <p:nvPicPr>
          <p:cNvPr id="14" name="Segnaposto immagine 13">
            <a:extLst>
              <a:ext uri="{FF2B5EF4-FFF2-40B4-BE49-F238E27FC236}">
                <a16:creationId xmlns:a16="http://schemas.microsoft.com/office/drawing/2014/main" id="{E983D85E-34D8-430D-875F-7EBB69A6B73E}"/>
              </a:ext>
            </a:extLst>
          </p:cNvPr>
          <p:cNvPicPr>
            <a:picLocks noGrp="1" noChangeAspect="1"/>
          </p:cNvPicPr>
          <p:nvPr>
            <p:ph type="pic" sz="quarter" idx="10"/>
          </p:nvPr>
        </p:nvPicPr>
        <p:blipFill>
          <a:blip r:embed="rId6"/>
          <a:srcRect/>
          <a:stretch/>
        </p:blipFill>
        <p:spPr/>
      </p:pic>
      <p:grpSp>
        <p:nvGrpSpPr>
          <p:cNvPr id="4" name="Gruppo 3">
            <a:extLst>
              <a:ext uri="{FF2B5EF4-FFF2-40B4-BE49-F238E27FC236}">
                <a16:creationId xmlns:a16="http://schemas.microsoft.com/office/drawing/2014/main" id="{EB664AAE-5AE9-41D7-8346-002B9F445323}"/>
              </a:ext>
              <a:ext uri="{C183D7F6-B498-43B3-948B-1728B52AA6E4}">
                <adec:decorative xmlns:adec="http://schemas.microsoft.com/office/drawing/2017/decorative" val="1"/>
              </a:ext>
            </a:extLst>
          </p:cNvPr>
          <p:cNvGrpSpPr/>
          <p:nvPr/>
        </p:nvGrpSpPr>
        <p:grpSpPr>
          <a:xfrm>
            <a:off x="-3740" y="0"/>
            <a:ext cx="6208649" cy="6858000"/>
            <a:chOff x="-3740" y="0"/>
            <a:chExt cx="6208649" cy="6858000"/>
          </a:xfrm>
        </p:grpSpPr>
        <p:sp>
          <p:nvSpPr>
            <p:cNvPr id="11" name="Figura a mano libera: Forma 10">
              <a:extLst>
                <a:ext uri="{FF2B5EF4-FFF2-40B4-BE49-F238E27FC236}">
                  <a16:creationId xmlns:a16="http://schemas.microsoft.com/office/drawing/2014/main" id="{927C3783-B800-4093-BB0D-D5AEF08C3B59}"/>
                </a:ext>
              </a:extLst>
            </p:cNvPr>
            <p:cNvSpPr/>
            <p:nvPr/>
          </p:nvSpPr>
          <p:spPr>
            <a:xfrm>
              <a:off x="-3740" y="0"/>
              <a:ext cx="6208649" cy="6858000"/>
            </a:xfrm>
            <a:custGeom>
              <a:avLst/>
              <a:gdLst>
                <a:gd name="connsiteX0" fmla="*/ 0 w 6208649"/>
                <a:gd name="connsiteY0" fmla="*/ 0 h 6858000"/>
                <a:gd name="connsiteX1" fmla="*/ 6208649 w 6208649"/>
                <a:gd name="connsiteY1" fmla="*/ 0 h 6858000"/>
                <a:gd name="connsiteX2" fmla="*/ 2737815 w 6208649"/>
                <a:gd name="connsiteY2" fmla="*/ 6858000 h 6858000"/>
                <a:gd name="connsiteX3" fmla="*/ 0 w 620864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08649" h="6858000">
                  <a:moveTo>
                    <a:pt x="0" y="0"/>
                  </a:moveTo>
                  <a:lnTo>
                    <a:pt x="6208649" y="0"/>
                  </a:lnTo>
                  <a:lnTo>
                    <a:pt x="2737815" y="6858000"/>
                  </a:lnTo>
                  <a:lnTo>
                    <a:pt x="0" y="6858000"/>
                  </a:lnTo>
                  <a:close/>
                </a:path>
              </a:pathLst>
            </a:custGeom>
            <a:solidFill>
              <a:schemeClr val="bg1">
                <a:lumMod val="95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9" name="Rettangolo 8">
              <a:extLst>
                <a:ext uri="{FF2B5EF4-FFF2-40B4-BE49-F238E27FC236}">
                  <a16:creationId xmlns:a16="http://schemas.microsoft.com/office/drawing/2014/main" id="{B576E978-A841-4A4F-B153-CC369D9391D3}"/>
                </a:ext>
              </a:extLst>
            </p:cNvPr>
            <p:cNvSpPr/>
            <p:nvPr/>
          </p:nvSpPr>
          <p:spPr>
            <a:xfrm>
              <a:off x="1451429" y="0"/>
              <a:ext cx="3222172" cy="6858000"/>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Tree>
    <p:extLst>
      <p:ext uri="{BB962C8B-B14F-4D97-AF65-F5344CB8AC3E}">
        <p14:creationId xmlns:p14="http://schemas.microsoft.com/office/powerpoint/2010/main" val="4386169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o 13" descr="sequenza temporale">
            <a:extLst>
              <a:ext uri="{FF2B5EF4-FFF2-40B4-BE49-F238E27FC236}">
                <a16:creationId xmlns:a16="http://schemas.microsoft.com/office/drawing/2014/main" id="{83532B1B-6F65-43E8-93A9-7C8923238520}"/>
              </a:ext>
            </a:extLst>
          </p:cNvPr>
          <p:cNvGrpSpPr/>
          <p:nvPr/>
        </p:nvGrpSpPr>
        <p:grpSpPr>
          <a:xfrm>
            <a:off x="228601" y="485723"/>
            <a:ext cx="11633199" cy="6372277"/>
            <a:chOff x="228601" y="485723"/>
            <a:chExt cx="11633199" cy="6372277"/>
          </a:xfrm>
        </p:grpSpPr>
        <p:grpSp>
          <p:nvGrpSpPr>
            <p:cNvPr id="12" name="Gruppo 11">
              <a:extLst>
                <a:ext uri="{FF2B5EF4-FFF2-40B4-BE49-F238E27FC236}">
                  <a16:creationId xmlns:a16="http://schemas.microsoft.com/office/drawing/2014/main" id="{76FAB540-C491-4F6D-A6FE-A267705EEA5B}"/>
                </a:ext>
              </a:extLst>
            </p:cNvPr>
            <p:cNvGrpSpPr/>
            <p:nvPr/>
          </p:nvGrpSpPr>
          <p:grpSpPr>
            <a:xfrm rot="5400000" flipH="1">
              <a:off x="10012548" y="2066363"/>
              <a:ext cx="1691026" cy="2007478"/>
              <a:chOff x="6415077" y="1171530"/>
              <a:chExt cx="1890380" cy="1890380"/>
            </a:xfrm>
          </p:grpSpPr>
          <p:sp>
            <p:nvSpPr>
              <p:cNvPr id="10" name="Arco 9">
                <a:extLst>
                  <a:ext uri="{FF2B5EF4-FFF2-40B4-BE49-F238E27FC236}">
                    <a16:creationId xmlns:a16="http://schemas.microsoft.com/office/drawing/2014/main" id="{8065E7CB-23F1-435F-AF44-714D3ED3AEEC}"/>
                  </a:ext>
                </a:extLst>
              </p:cNvPr>
              <p:cNvSpPr/>
              <p:nvPr/>
            </p:nvSpPr>
            <p:spPr>
              <a:xfrm>
                <a:off x="6415077" y="1171530"/>
                <a:ext cx="1890380" cy="1890380"/>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sp>
            <p:nvSpPr>
              <p:cNvPr id="11" name="Arco 10">
                <a:extLst>
                  <a:ext uri="{FF2B5EF4-FFF2-40B4-BE49-F238E27FC236}">
                    <a16:creationId xmlns:a16="http://schemas.microsoft.com/office/drawing/2014/main" id="{35E4FBCD-37DC-40E0-9AC8-B2466900D8BE}"/>
                  </a:ext>
                </a:extLst>
              </p:cNvPr>
              <p:cNvSpPr/>
              <p:nvPr/>
            </p:nvSpPr>
            <p:spPr>
              <a:xfrm flipH="1">
                <a:off x="6415077" y="1171530"/>
                <a:ext cx="1890380" cy="1890380"/>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grpSp>
        <p:grpSp>
          <p:nvGrpSpPr>
            <p:cNvPr id="9" name="Gruppo 8">
              <a:extLst>
                <a:ext uri="{FF2B5EF4-FFF2-40B4-BE49-F238E27FC236}">
                  <a16:creationId xmlns:a16="http://schemas.microsoft.com/office/drawing/2014/main" id="{7B75C7B1-766D-4711-8CB1-1D3AD4142E3F}"/>
                </a:ext>
              </a:extLst>
            </p:cNvPr>
            <p:cNvGrpSpPr/>
            <p:nvPr/>
          </p:nvGrpSpPr>
          <p:grpSpPr>
            <a:xfrm>
              <a:off x="228601" y="485723"/>
              <a:ext cx="10649366" cy="6372277"/>
              <a:chOff x="228601" y="485723"/>
              <a:chExt cx="10649366" cy="6372277"/>
            </a:xfrm>
          </p:grpSpPr>
          <p:sp>
            <p:nvSpPr>
              <p:cNvPr id="7" name="Arco 6">
                <a:extLst>
                  <a:ext uri="{FF2B5EF4-FFF2-40B4-BE49-F238E27FC236}">
                    <a16:creationId xmlns:a16="http://schemas.microsoft.com/office/drawing/2014/main" id="{AF71C86D-5144-4D25-B6A2-918DC4160A1F}"/>
                  </a:ext>
                </a:extLst>
              </p:cNvPr>
              <p:cNvSpPr/>
              <p:nvPr/>
            </p:nvSpPr>
            <p:spPr>
              <a:xfrm rot="16200000" flipH="1">
                <a:off x="1107510" y="454768"/>
                <a:ext cx="1737608" cy="1799518"/>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grpSp>
            <p:nvGrpSpPr>
              <p:cNvPr id="8" name="Gruppo 7">
                <a:extLst>
                  <a:ext uri="{FF2B5EF4-FFF2-40B4-BE49-F238E27FC236}">
                    <a16:creationId xmlns:a16="http://schemas.microsoft.com/office/drawing/2014/main" id="{A2D2F24B-3BD6-4803-B697-1C078E89C915}"/>
                  </a:ext>
                </a:extLst>
              </p:cNvPr>
              <p:cNvGrpSpPr/>
              <p:nvPr/>
            </p:nvGrpSpPr>
            <p:grpSpPr>
              <a:xfrm>
                <a:off x="228601" y="2223331"/>
                <a:ext cx="10649366" cy="4634669"/>
                <a:chOff x="228601" y="2223331"/>
                <a:chExt cx="10649366" cy="4634669"/>
              </a:xfrm>
            </p:grpSpPr>
            <p:grpSp>
              <p:nvGrpSpPr>
                <p:cNvPr id="46" name="Gruppo 45">
                  <a:extLst>
                    <a:ext uri="{FF2B5EF4-FFF2-40B4-BE49-F238E27FC236}">
                      <a16:creationId xmlns:a16="http://schemas.microsoft.com/office/drawing/2014/main" id="{5CFEE95A-087F-4F9C-876F-9F92595763B6}"/>
                    </a:ext>
                  </a:extLst>
                </p:cNvPr>
                <p:cNvGrpSpPr/>
                <p:nvPr/>
              </p:nvGrpSpPr>
              <p:grpSpPr>
                <a:xfrm rot="16200000" flipH="1">
                  <a:off x="386827" y="3756863"/>
                  <a:ext cx="1691026" cy="2007478"/>
                  <a:chOff x="6415077" y="1171530"/>
                  <a:chExt cx="1890380" cy="1890380"/>
                </a:xfrm>
              </p:grpSpPr>
              <p:sp>
                <p:nvSpPr>
                  <p:cNvPr id="47" name="Arco 46">
                    <a:extLst>
                      <a:ext uri="{FF2B5EF4-FFF2-40B4-BE49-F238E27FC236}">
                        <a16:creationId xmlns:a16="http://schemas.microsoft.com/office/drawing/2014/main" id="{0BEF374B-D633-4C49-A916-320DB8732251}"/>
                      </a:ext>
                    </a:extLst>
                  </p:cNvPr>
                  <p:cNvSpPr/>
                  <p:nvPr/>
                </p:nvSpPr>
                <p:spPr>
                  <a:xfrm>
                    <a:off x="6415077" y="1171530"/>
                    <a:ext cx="1890380" cy="1890380"/>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sp>
                <p:nvSpPr>
                  <p:cNvPr id="48" name="Arco 47">
                    <a:extLst>
                      <a:ext uri="{FF2B5EF4-FFF2-40B4-BE49-F238E27FC236}">
                        <a16:creationId xmlns:a16="http://schemas.microsoft.com/office/drawing/2014/main" id="{7EA3C2CD-982C-4EAD-AF27-8F363D90EDB9}"/>
                      </a:ext>
                    </a:extLst>
                  </p:cNvPr>
                  <p:cNvSpPr/>
                  <p:nvPr/>
                </p:nvSpPr>
                <p:spPr>
                  <a:xfrm flipH="1">
                    <a:off x="6415077" y="1171530"/>
                    <a:ext cx="1890380" cy="1890380"/>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grpSp>
            <p:sp>
              <p:nvSpPr>
                <p:cNvPr id="13" name="Arco 12">
                  <a:extLst>
                    <a:ext uri="{FF2B5EF4-FFF2-40B4-BE49-F238E27FC236}">
                      <a16:creationId xmlns:a16="http://schemas.microsoft.com/office/drawing/2014/main" id="{5507F1A1-1EB3-4835-A723-6E0CC155369B}"/>
                    </a:ext>
                  </a:extLst>
                </p:cNvPr>
                <p:cNvSpPr/>
                <p:nvPr/>
              </p:nvSpPr>
              <p:spPr>
                <a:xfrm rot="5400000" flipH="1">
                  <a:off x="3114163" y="5332299"/>
                  <a:ext cx="1251885" cy="1799518"/>
                </a:xfrm>
                <a:prstGeom prst="arc">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cxnSp>
              <p:nvCxnSpPr>
                <p:cNvPr id="26" name="Connettore diritto 25">
                  <a:extLst>
                    <a:ext uri="{FF2B5EF4-FFF2-40B4-BE49-F238E27FC236}">
                      <a16:creationId xmlns:a16="http://schemas.microsoft.com/office/drawing/2014/main" id="{A91AC131-C2D0-4567-9511-EA65CA7EE241}"/>
                    </a:ext>
                  </a:extLst>
                </p:cNvPr>
                <p:cNvCxnSpPr>
                  <a:cxnSpLocks/>
                </p:cNvCxnSpPr>
                <p:nvPr/>
              </p:nvCxnSpPr>
              <p:spPr>
                <a:xfrm flipH="1">
                  <a:off x="1941052" y="2223331"/>
                  <a:ext cx="893691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Connettore diritto 58">
                  <a:extLst>
                    <a:ext uri="{FF2B5EF4-FFF2-40B4-BE49-F238E27FC236}">
                      <a16:creationId xmlns:a16="http://schemas.microsoft.com/office/drawing/2014/main" id="{CA0A091F-631C-4120-B174-67D45A6A138C}"/>
                    </a:ext>
                  </a:extLst>
                </p:cNvPr>
                <p:cNvCxnSpPr>
                  <a:cxnSpLocks/>
                </p:cNvCxnSpPr>
                <p:nvPr/>
              </p:nvCxnSpPr>
              <p:spPr>
                <a:xfrm flipH="1">
                  <a:off x="1216868" y="3915088"/>
                  <a:ext cx="9661099"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Connettore diritto 60">
                  <a:extLst>
                    <a:ext uri="{FF2B5EF4-FFF2-40B4-BE49-F238E27FC236}">
                      <a16:creationId xmlns:a16="http://schemas.microsoft.com/office/drawing/2014/main" id="{9BF890A1-93BF-4879-9ED9-E25DBB7E6053}"/>
                    </a:ext>
                  </a:extLst>
                </p:cNvPr>
                <p:cNvCxnSpPr>
                  <a:cxnSpLocks/>
                  <a:stCxn id="13" idx="2"/>
                </p:cNvCxnSpPr>
                <p:nvPr/>
              </p:nvCxnSpPr>
              <p:spPr>
                <a:xfrm flipH="1" flipV="1">
                  <a:off x="1216868" y="5605864"/>
                  <a:ext cx="2523238" cy="252"/>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grpSp>
      <p:sp>
        <p:nvSpPr>
          <p:cNvPr id="38" name="Ovale 37">
            <a:extLst>
              <a:ext uri="{FF2B5EF4-FFF2-40B4-BE49-F238E27FC236}">
                <a16:creationId xmlns:a16="http://schemas.microsoft.com/office/drawing/2014/main" id="{28C2D536-BF2F-4ADA-9927-03778193AC3A}"/>
              </a:ext>
              <a:ext uri="{C183D7F6-B498-43B3-948B-1728B52AA6E4}">
                <adec:decorative xmlns:adec="http://schemas.microsoft.com/office/drawing/2017/decorative" val="1"/>
              </a:ext>
            </a:extLst>
          </p:cNvPr>
          <p:cNvSpPr/>
          <p:nvPr/>
        </p:nvSpPr>
        <p:spPr>
          <a:xfrm>
            <a:off x="4917482" y="4272898"/>
            <a:ext cx="840963" cy="840963"/>
          </a:xfrm>
          <a:prstGeom prst="ellipse">
            <a:avLst/>
          </a:prstGeom>
          <a:solidFill>
            <a:schemeClr val="accent1">
              <a:lumMod val="20000"/>
              <a:lumOff val="8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36" name="Ovale 35">
            <a:extLst>
              <a:ext uri="{FF2B5EF4-FFF2-40B4-BE49-F238E27FC236}">
                <a16:creationId xmlns:a16="http://schemas.microsoft.com/office/drawing/2014/main" id="{1952C023-9B06-4B43-B644-CD03A018598E}"/>
              </a:ext>
              <a:ext uri="{C183D7F6-B498-43B3-948B-1728B52AA6E4}">
                <adec:decorative xmlns:adec="http://schemas.microsoft.com/office/drawing/2017/decorative" val="1"/>
              </a:ext>
            </a:extLst>
          </p:cNvPr>
          <p:cNvSpPr/>
          <p:nvPr/>
        </p:nvSpPr>
        <p:spPr>
          <a:xfrm>
            <a:off x="1238105" y="4272898"/>
            <a:ext cx="840963" cy="840963"/>
          </a:xfrm>
          <a:prstGeom prst="ellipse">
            <a:avLst/>
          </a:prstGeom>
          <a:solidFill>
            <a:schemeClr val="accent3">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34" name="Ovale 33">
            <a:extLst>
              <a:ext uri="{FF2B5EF4-FFF2-40B4-BE49-F238E27FC236}">
                <a16:creationId xmlns:a16="http://schemas.microsoft.com/office/drawing/2014/main" id="{10046627-DACE-4A75-A48B-34B6934A809A}"/>
              </a:ext>
              <a:ext uri="{C183D7F6-B498-43B3-948B-1728B52AA6E4}">
                <adec:decorative xmlns:adec="http://schemas.microsoft.com/office/drawing/2017/decorative" val="1"/>
              </a:ext>
            </a:extLst>
          </p:cNvPr>
          <p:cNvSpPr/>
          <p:nvPr/>
        </p:nvSpPr>
        <p:spPr>
          <a:xfrm>
            <a:off x="1238105" y="2477008"/>
            <a:ext cx="840963" cy="840963"/>
          </a:xfrm>
          <a:prstGeom prst="ellipse">
            <a:avLst/>
          </a:prstGeom>
          <a:solidFill>
            <a:schemeClr val="accent4">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68" name="Ovale 67">
            <a:extLst>
              <a:ext uri="{FF2B5EF4-FFF2-40B4-BE49-F238E27FC236}">
                <a16:creationId xmlns:a16="http://schemas.microsoft.com/office/drawing/2014/main" id="{696BE8D8-6B81-4D92-9557-CDC354533457}"/>
              </a:ext>
              <a:ext uri="{C183D7F6-B498-43B3-948B-1728B52AA6E4}">
                <adec:decorative xmlns:adec="http://schemas.microsoft.com/office/drawing/2017/decorative" val="1"/>
              </a:ext>
            </a:extLst>
          </p:cNvPr>
          <p:cNvSpPr/>
          <p:nvPr/>
        </p:nvSpPr>
        <p:spPr>
          <a:xfrm>
            <a:off x="4917482" y="2477008"/>
            <a:ext cx="840963" cy="840963"/>
          </a:xfrm>
          <a:prstGeom prst="ellipse">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32" name="Ovale 31">
            <a:extLst>
              <a:ext uri="{FF2B5EF4-FFF2-40B4-BE49-F238E27FC236}">
                <a16:creationId xmlns:a16="http://schemas.microsoft.com/office/drawing/2014/main" id="{F32EFD43-D203-45CD-B41D-8569A214C88F}"/>
              </a:ext>
              <a:ext uri="{C183D7F6-B498-43B3-948B-1728B52AA6E4}">
                <adec:decorative xmlns:adec="http://schemas.microsoft.com/office/drawing/2017/decorative" val="1"/>
              </a:ext>
            </a:extLst>
          </p:cNvPr>
          <p:cNvSpPr/>
          <p:nvPr/>
        </p:nvSpPr>
        <p:spPr>
          <a:xfrm>
            <a:off x="8417382" y="2477008"/>
            <a:ext cx="840963" cy="840963"/>
          </a:xfrm>
          <a:prstGeom prst="ellipse">
            <a:avLst/>
          </a:prstGeom>
          <a:solidFill>
            <a:schemeClr val="accent2">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30" name="Ovale 29">
            <a:extLst>
              <a:ext uri="{FF2B5EF4-FFF2-40B4-BE49-F238E27FC236}">
                <a16:creationId xmlns:a16="http://schemas.microsoft.com/office/drawing/2014/main" id="{78DEBD90-486A-4B0E-9DEA-51F8849718D2}"/>
              </a:ext>
              <a:ext uri="{C183D7F6-B498-43B3-948B-1728B52AA6E4}">
                <adec:decorative xmlns:adec="http://schemas.microsoft.com/office/drawing/2017/decorative" val="1"/>
              </a:ext>
            </a:extLst>
          </p:cNvPr>
          <p:cNvSpPr/>
          <p:nvPr/>
        </p:nvSpPr>
        <p:spPr>
          <a:xfrm>
            <a:off x="8417382" y="4272898"/>
            <a:ext cx="840963" cy="840963"/>
          </a:xfrm>
          <a:prstGeom prst="ellipse">
            <a:avLst/>
          </a:prstGeom>
          <a:solidFill>
            <a:schemeClr val="accent6">
              <a:lumMod val="40000"/>
              <a:lumOff val="60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53" name="Ovale 52">
            <a:extLst>
              <a:ext uri="{FF2B5EF4-FFF2-40B4-BE49-F238E27FC236}">
                <a16:creationId xmlns:a16="http://schemas.microsoft.com/office/drawing/2014/main" id="{39CF61DF-01D9-4149-8DB8-30F8646B49F5}"/>
              </a:ext>
              <a:ext uri="{C183D7F6-B498-43B3-948B-1728B52AA6E4}">
                <adec:decorative xmlns:adec="http://schemas.microsoft.com/office/drawing/2017/decorative" val="1"/>
              </a:ext>
            </a:extLst>
          </p:cNvPr>
          <p:cNvSpPr/>
          <p:nvPr/>
        </p:nvSpPr>
        <p:spPr>
          <a:xfrm>
            <a:off x="612935" y="329409"/>
            <a:ext cx="840963" cy="840963"/>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3" name="Ovale 92">
            <a:extLst>
              <a:ext uri="{FF2B5EF4-FFF2-40B4-BE49-F238E27FC236}">
                <a16:creationId xmlns:a16="http://schemas.microsoft.com/office/drawing/2014/main" id="{06632AC2-657E-4F91-AC5F-70B8B019FC50}"/>
              </a:ext>
              <a:ext uri="{C183D7F6-B498-43B3-948B-1728B52AA6E4}">
                <adec:decorative xmlns:adec="http://schemas.microsoft.com/office/drawing/2017/decorative" val="1"/>
              </a:ext>
            </a:extLst>
          </p:cNvPr>
          <p:cNvSpPr/>
          <p:nvPr/>
        </p:nvSpPr>
        <p:spPr>
          <a:xfrm>
            <a:off x="4917482" y="5750417"/>
            <a:ext cx="840963" cy="840963"/>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pic>
        <p:nvPicPr>
          <p:cNvPr id="72" name="Segnaposto immagine 71" descr="Sole coperto">
            <a:extLst>
              <a:ext uri="{FF2B5EF4-FFF2-40B4-BE49-F238E27FC236}">
                <a16:creationId xmlns:a16="http://schemas.microsoft.com/office/drawing/2014/main" id="{2D43C573-2E71-4CAC-A3C5-3114CB43C8D2}"/>
              </a:ext>
            </a:extLst>
          </p:cNvPr>
          <p:cNvPicPr>
            <a:picLocks noGrp="1" noChangeAspect="1"/>
          </p:cNvPicPr>
          <p:nvPr>
            <p:ph type="pic" sz="quarter" idx="11"/>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p:pic>
      <p:sp>
        <p:nvSpPr>
          <p:cNvPr id="4" name="Segnaposto testo 3">
            <a:extLst>
              <a:ext uri="{FF2B5EF4-FFF2-40B4-BE49-F238E27FC236}">
                <a16:creationId xmlns:a16="http://schemas.microsoft.com/office/drawing/2014/main" id="{265F5D27-BEFB-4DBA-8F9B-A036D4DFCB85}"/>
              </a:ext>
            </a:extLst>
          </p:cNvPr>
          <p:cNvSpPr>
            <a:spLocks noGrp="1"/>
          </p:cNvSpPr>
          <p:nvPr>
            <p:ph type="body" sz="quarter" idx="18"/>
          </p:nvPr>
        </p:nvSpPr>
        <p:spPr/>
        <p:txBody>
          <a:bodyPr rtlCol="0"/>
          <a:lstStyle/>
          <a:p>
            <a:r>
              <a:rPr lang="it-IT" dirty="0"/>
              <a:t>Flow</a:t>
            </a:r>
          </a:p>
        </p:txBody>
      </p:sp>
      <p:pic>
        <p:nvPicPr>
          <p:cNvPr id="25" name="Segnaposto immagine 24" descr="Innaffiare la pianta">
            <a:extLst>
              <a:ext uri="{FF2B5EF4-FFF2-40B4-BE49-F238E27FC236}">
                <a16:creationId xmlns:a16="http://schemas.microsoft.com/office/drawing/2014/main" id="{FAC4BB91-D618-4F7B-BA9F-5BF71832AF80}"/>
              </a:ext>
            </a:extLst>
          </p:cNvPr>
          <p:cNvPicPr>
            <a:picLocks noGrp="1" noChangeAspect="1"/>
          </p:cNvPicPr>
          <p:nvPr>
            <p:ph type="pic" sz="quarter" idx="19"/>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p:pic>
      <p:pic>
        <p:nvPicPr>
          <p:cNvPr id="74" name="Segnaposto immagine 73" descr="Pacchetto dei semi">
            <a:extLst>
              <a:ext uri="{FF2B5EF4-FFF2-40B4-BE49-F238E27FC236}">
                <a16:creationId xmlns:a16="http://schemas.microsoft.com/office/drawing/2014/main" id="{EA2B3F76-947B-47E6-8EA0-1A572AAAFC6F}"/>
              </a:ext>
            </a:extLst>
          </p:cNvPr>
          <p:cNvPicPr>
            <a:picLocks noGrp="1" noChangeAspect="1"/>
          </p:cNvPicPr>
          <p:nvPr>
            <p:ph type="pic" sz="quarter" idx="20"/>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p:pic>
      <p:pic>
        <p:nvPicPr>
          <p:cNvPr id="78" name="Segnaposto immagine 77" descr="Seme di germoglio">
            <a:extLst>
              <a:ext uri="{FF2B5EF4-FFF2-40B4-BE49-F238E27FC236}">
                <a16:creationId xmlns:a16="http://schemas.microsoft.com/office/drawing/2014/main" id="{5C6E9D5B-BD9D-41D9-B675-0E36089573A4}"/>
              </a:ext>
            </a:extLst>
          </p:cNvPr>
          <p:cNvPicPr>
            <a:picLocks noGrp="1" noChangeAspect="1"/>
          </p:cNvPicPr>
          <p:nvPr>
            <p:ph type="pic" sz="quarter" idx="21"/>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p:pic>
      <p:pic>
        <p:nvPicPr>
          <p:cNvPr id="80" name="Segnaposto immagine 79" descr="Pianta">
            <a:extLst>
              <a:ext uri="{FF2B5EF4-FFF2-40B4-BE49-F238E27FC236}">
                <a16:creationId xmlns:a16="http://schemas.microsoft.com/office/drawing/2014/main" id="{DE33393A-3A90-4205-8314-2C195BCD9882}"/>
              </a:ext>
            </a:extLst>
          </p:cNvPr>
          <p:cNvPicPr>
            <a:picLocks noGrp="1" noChangeAspect="1"/>
          </p:cNvPicPr>
          <p:nvPr>
            <p:ph type="pic" sz="quarter" idx="22"/>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p:pic>
      <p:pic>
        <p:nvPicPr>
          <p:cNvPr id="82" name="Segnaposto immagine 81" descr="Albero caducifoglio">
            <a:extLst>
              <a:ext uri="{FF2B5EF4-FFF2-40B4-BE49-F238E27FC236}">
                <a16:creationId xmlns:a16="http://schemas.microsoft.com/office/drawing/2014/main" id="{AD17167C-7E9B-47F1-BCEA-9D03240A1BE5}"/>
              </a:ext>
            </a:extLst>
          </p:cNvPr>
          <p:cNvPicPr>
            <a:picLocks noGrp="1" noChangeAspect="1"/>
          </p:cNvPicPr>
          <p:nvPr>
            <p:ph type="pic" sz="quarter" idx="23"/>
          </p:nvPr>
        </p:nvPicPr>
        <p:blipFill rotWithShape="1">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p:pic>
      <p:pic>
        <p:nvPicPr>
          <p:cNvPr id="70" name="Segnaposto immagine 69" descr="Attrezzi per giardinaggio">
            <a:extLst>
              <a:ext uri="{FF2B5EF4-FFF2-40B4-BE49-F238E27FC236}">
                <a16:creationId xmlns:a16="http://schemas.microsoft.com/office/drawing/2014/main" id="{7D9B0252-9E8E-46AB-B59D-3460FE60399D}"/>
              </a:ext>
            </a:extLst>
          </p:cNvPr>
          <p:cNvPicPr>
            <a:picLocks noGrp="1" noChangeAspect="1"/>
          </p:cNvPicPr>
          <p:nvPr>
            <p:ph type="pic" sz="quarter" idx="24"/>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p:pic>
      <p:pic>
        <p:nvPicPr>
          <p:cNvPr id="67" name="Segnaposto immagine 66" descr="Mela">
            <a:extLst>
              <a:ext uri="{FF2B5EF4-FFF2-40B4-BE49-F238E27FC236}">
                <a16:creationId xmlns:a16="http://schemas.microsoft.com/office/drawing/2014/main" id="{C66FAA38-DEF2-4663-948F-5E86500674ED}"/>
              </a:ext>
            </a:extLst>
          </p:cNvPr>
          <p:cNvPicPr>
            <a:picLocks noGrp="1" noChangeAspect="1"/>
          </p:cNvPicPr>
          <p:nvPr>
            <p:ph type="pic" sz="quarter" idx="25"/>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p:pic>
      <p:sp>
        <p:nvSpPr>
          <p:cNvPr id="97" name="Segnaposto testo 96">
            <a:extLst>
              <a:ext uri="{FF2B5EF4-FFF2-40B4-BE49-F238E27FC236}">
                <a16:creationId xmlns:a16="http://schemas.microsoft.com/office/drawing/2014/main" id="{FDAEC997-C3C2-4121-9089-C71E413A96A5}"/>
              </a:ext>
            </a:extLst>
          </p:cNvPr>
          <p:cNvSpPr>
            <a:spLocks noGrp="1"/>
          </p:cNvSpPr>
          <p:nvPr>
            <p:ph type="body" sz="quarter" idx="27"/>
          </p:nvPr>
        </p:nvSpPr>
        <p:spPr/>
        <p:txBody>
          <a:bodyPr rtlCol="0"/>
          <a:lstStyle/>
          <a:p>
            <a:pPr rtl="0"/>
            <a:r>
              <a:rPr lang="it-IT" sz="1800" b="1" dirty="0">
                <a:solidFill>
                  <a:srgbClr val="000000"/>
                </a:solidFill>
                <a:latin typeface="+mj-lt"/>
              </a:rPr>
              <a:t>Progetto</a:t>
            </a:r>
          </a:p>
        </p:txBody>
      </p:sp>
      <p:sp>
        <p:nvSpPr>
          <p:cNvPr id="84" name="Segnaposto testo 83">
            <a:extLst>
              <a:ext uri="{FF2B5EF4-FFF2-40B4-BE49-F238E27FC236}">
                <a16:creationId xmlns:a16="http://schemas.microsoft.com/office/drawing/2014/main" id="{39987E6E-52C0-420F-806B-28FB4667373A}"/>
              </a:ext>
            </a:extLst>
          </p:cNvPr>
          <p:cNvSpPr>
            <a:spLocks noGrp="1"/>
          </p:cNvSpPr>
          <p:nvPr>
            <p:ph type="body" sz="quarter" idx="29"/>
          </p:nvPr>
        </p:nvSpPr>
        <p:spPr/>
        <p:txBody>
          <a:bodyPr rtlCol="0"/>
          <a:lstStyle/>
          <a:p>
            <a:r>
              <a:rPr lang="it-IT" dirty="0">
                <a:solidFill>
                  <a:srgbClr val="000000"/>
                </a:solidFill>
              </a:rPr>
              <a:t>Gestione del progetto</a:t>
            </a:r>
            <a:endParaRPr lang="it-IT" dirty="0"/>
          </a:p>
          <a:p>
            <a:pPr rtl="0"/>
            <a:endParaRPr lang="it-IT" dirty="0"/>
          </a:p>
        </p:txBody>
      </p:sp>
      <p:sp>
        <p:nvSpPr>
          <p:cNvPr id="19" name="Segnaposto testo 18">
            <a:extLst>
              <a:ext uri="{FF2B5EF4-FFF2-40B4-BE49-F238E27FC236}">
                <a16:creationId xmlns:a16="http://schemas.microsoft.com/office/drawing/2014/main" id="{D7C8CD10-3C66-4C32-B8C2-9A234B82C7D1}"/>
              </a:ext>
            </a:extLst>
          </p:cNvPr>
          <p:cNvSpPr>
            <a:spLocks noGrp="1"/>
          </p:cNvSpPr>
          <p:nvPr>
            <p:ph type="body" sz="quarter" idx="31"/>
          </p:nvPr>
        </p:nvSpPr>
        <p:spPr/>
        <p:txBody>
          <a:bodyPr rtlCol="0">
            <a:noAutofit/>
          </a:bodyPr>
          <a:lstStyle/>
          <a:p>
            <a:pPr rtl="0">
              <a:lnSpc>
                <a:spcPct val="100000"/>
              </a:lnSpc>
              <a:spcBef>
                <a:spcPts val="0"/>
              </a:spcBef>
            </a:pPr>
            <a:r>
              <a:rPr lang="it-IT" b="1" dirty="0">
                <a:solidFill>
                  <a:srgbClr val="000000"/>
                </a:solidFill>
                <a:latin typeface="+mj-lt"/>
              </a:rPr>
              <a:t>Idea</a:t>
            </a:r>
            <a:endParaRPr lang="it-IT" dirty="0">
              <a:solidFill>
                <a:schemeClr val="tx1"/>
              </a:solidFill>
            </a:endParaRPr>
          </a:p>
        </p:txBody>
      </p:sp>
      <p:sp>
        <p:nvSpPr>
          <p:cNvPr id="49" name="Segnaposto testo 48">
            <a:extLst>
              <a:ext uri="{FF2B5EF4-FFF2-40B4-BE49-F238E27FC236}">
                <a16:creationId xmlns:a16="http://schemas.microsoft.com/office/drawing/2014/main" id="{E06C67B9-B15A-43D7-A1C8-0C3286C3EB23}"/>
              </a:ext>
            </a:extLst>
          </p:cNvPr>
          <p:cNvSpPr>
            <a:spLocks noGrp="1"/>
          </p:cNvSpPr>
          <p:nvPr>
            <p:ph type="body" sz="quarter" idx="33"/>
          </p:nvPr>
        </p:nvSpPr>
        <p:spPr>
          <a:xfrm>
            <a:off x="6116956" y="5750418"/>
            <a:ext cx="2623007" cy="257822"/>
          </a:xfrm>
        </p:spPr>
        <p:txBody>
          <a:bodyPr rtlCol="0"/>
          <a:lstStyle/>
          <a:p>
            <a:pPr rtl="0"/>
            <a:r>
              <a:rPr lang="it-IT" dirty="0"/>
              <a:t>Qualità e </a:t>
            </a:r>
            <a:r>
              <a:rPr lang="it-IT" dirty="0" err="1"/>
              <a:t>continuous</a:t>
            </a:r>
            <a:r>
              <a:rPr lang="it-IT" dirty="0"/>
              <a:t> </a:t>
            </a:r>
            <a:r>
              <a:rPr lang="it-IT" dirty="0" err="1"/>
              <a:t>improvement</a:t>
            </a:r>
            <a:endParaRPr lang="it-IT" dirty="0"/>
          </a:p>
        </p:txBody>
      </p:sp>
      <p:sp>
        <p:nvSpPr>
          <p:cNvPr id="51" name="Segnaposto testo 50">
            <a:extLst>
              <a:ext uri="{FF2B5EF4-FFF2-40B4-BE49-F238E27FC236}">
                <a16:creationId xmlns:a16="http://schemas.microsoft.com/office/drawing/2014/main" id="{A56BB950-474F-48B8-B96A-19AD258EC1A2}"/>
              </a:ext>
            </a:extLst>
          </p:cNvPr>
          <p:cNvSpPr>
            <a:spLocks noGrp="1"/>
          </p:cNvSpPr>
          <p:nvPr>
            <p:ph type="body" sz="quarter" idx="35"/>
          </p:nvPr>
        </p:nvSpPr>
        <p:spPr/>
        <p:txBody>
          <a:bodyPr rtlCol="0"/>
          <a:lstStyle/>
          <a:p>
            <a:pPr rtl="0"/>
            <a:r>
              <a:rPr lang="it-IT" dirty="0"/>
              <a:t>Esperienza</a:t>
            </a:r>
          </a:p>
        </p:txBody>
      </p:sp>
      <p:sp>
        <p:nvSpPr>
          <p:cNvPr id="55" name="Segnaposto testo 54">
            <a:extLst>
              <a:ext uri="{FF2B5EF4-FFF2-40B4-BE49-F238E27FC236}">
                <a16:creationId xmlns:a16="http://schemas.microsoft.com/office/drawing/2014/main" id="{57539E1A-9B29-402B-A46D-E0F212E1B50F}"/>
              </a:ext>
            </a:extLst>
          </p:cNvPr>
          <p:cNvSpPr>
            <a:spLocks noGrp="1"/>
          </p:cNvSpPr>
          <p:nvPr>
            <p:ph type="body" sz="quarter" idx="37"/>
          </p:nvPr>
        </p:nvSpPr>
        <p:spPr/>
        <p:txBody>
          <a:bodyPr rtlCol="0"/>
          <a:lstStyle/>
          <a:p>
            <a:pPr rtl="0"/>
            <a:r>
              <a:rPr lang="it-IT" dirty="0"/>
              <a:t>Ricerca-Azione</a:t>
            </a:r>
          </a:p>
        </p:txBody>
      </p:sp>
      <p:sp>
        <p:nvSpPr>
          <p:cNvPr id="57" name="Segnaposto testo 56">
            <a:extLst>
              <a:ext uri="{FF2B5EF4-FFF2-40B4-BE49-F238E27FC236}">
                <a16:creationId xmlns:a16="http://schemas.microsoft.com/office/drawing/2014/main" id="{E280721E-D8F5-469E-B021-B2428B82D28A}"/>
              </a:ext>
            </a:extLst>
          </p:cNvPr>
          <p:cNvSpPr>
            <a:spLocks noGrp="1"/>
          </p:cNvSpPr>
          <p:nvPr>
            <p:ph type="body" sz="quarter" idx="39"/>
          </p:nvPr>
        </p:nvSpPr>
        <p:spPr/>
        <p:txBody>
          <a:bodyPr rtlCol="0"/>
          <a:lstStyle/>
          <a:p>
            <a:pPr rtl="0"/>
            <a:r>
              <a:rPr lang="it-IT" sz="1800" b="1" dirty="0">
                <a:solidFill>
                  <a:srgbClr val="000000"/>
                </a:solidFill>
                <a:latin typeface="+mj-lt"/>
              </a:rPr>
              <a:t>Formarsi per sperimentare</a:t>
            </a:r>
            <a:endParaRPr lang="it-IT" dirty="0"/>
          </a:p>
        </p:txBody>
      </p:sp>
      <p:sp>
        <p:nvSpPr>
          <p:cNvPr id="54" name="Ovale 53" descr="indicatori di sequenza temporale">
            <a:extLst>
              <a:ext uri="{FF2B5EF4-FFF2-40B4-BE49-F238E27FC236}">
                <a16:creationId xmlns:a16="http://schemas.microsoft.com/office/drawing/2014/main" id="{860921B8-3D91-48AB-A236-95079DA8AD01}"/>
              </a:ext>
            </a:extLst>
          </p:cNvPr>
          <p:cNvSpPr/>
          <p:nvPr/>
        </p:nvSpPr>
        <p:spPr>
          <a:xfrm flipH="1">
            <a:off x="1003747" y="1350041"/>
            <a:ext cx="168964" cy="16896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105" name="Ovale 104" descr="indicatori di sequenza temporale">
            <a:extLst>
              <a:ext uri="{FF2B5EF4-FFF2-40B4-BE49-F238E27FC236}">
                <a16:creationId xmlns:a16="http://schemas.microsoft.com/office/drawing/2014/main" id="{E92417A0-A309-465F-88E7-0DED361313C1}"/>
              </a:ext>
            </a:extLst>
          </p:cNvPr>
          <p:cNvSpPr/>
          <p:nvPr/>
        </p:nvSpPr>
        <p:spPr>
          <a:xfrm flipH="1">
            <a:off x="4552816" y="6139523"/>
            <a:ext cx="168964" cy="16896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107" name="Ovale 106" descr="indicatori di sequenza temporale">
            <a:extLst>
              <a:ext uri="{FF2B5EF4-FFF2-40B4-BE49-F238E27FC236}">
                <a16:creationId xmlns:a16="http://schemas.microsoft.com/office/drawing/2014/main" id="{13511587-7FCB-40F6-8E34-178AF7381975}"/>
              </a:ext>
            </a:extLst>
          </p:cNvPr>
          <p:cNvSpPr/>
          <p:nvPr/>
        </p:nvSpPr>
        <p:spPr>
          <a:xfrm flipH="1">
            <a:off x="6162090" y="2132914"/>
            <a:ext cx="168964" cy="16896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108" name="Ovale 107" descr="indicatori di sequenza temporale">
            <a:extLst>
              <a:ext uri="{FF2B5EF4-FFF2-40B4-BE49-F238E27FC236}">
                <a16:creationId xmlns:a16="http://schemas.microsoft.com/office/drawing/2014/main" id="{857D08D2-A1C9-489D-8348-CFB47CDE3AB1}"/>
              </a:ext>
            </a:extLst>
          </p:cNvPr>
          <p:cNvSpPr/>
          <p:nvPr/>
        </p:nvSpPr>
        <p:spPr>
          <a:xfrm flipH="1">
            <a:off x="9810032" y="2132914"/>
            <a:ext cx="168964" cy="16896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109" name="Ovale 108" descr="indicatori di sequenza temporale">
            <a:extLst>
              <a:ext uri="{FF2B5EF4-FFF2-40B4-BE49-F238E27FC236}">
                <a16:creationId xmlns:a16="http://schemas.microsoft.com/office/drawing/2014/main" id="{E245448C-0204-44B2-B971-A22E9D2DFACE}"/>
              </a:ext>
            </a:extLst>
          </p:cNvPr>
          <p:cNvSpPr/>
          <p:nvPr/>
        </p:nvSpPr>
        <p:spPr>
          <a:xfrm flipH="1">
            <a:off x="9810032" y="3836703"/>
            <a:ext cx="168964" cy="16896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110" name="Ovale 109" descr="indicatori di sequenza temporale">
            <a:extLst>
              <a:ext uri="{FF2B5EF4-FFF2-40B4-BE49-F238E27FC236}">
                <a16:creationId xmlns:a16="http://schemas.microsoft.com/office/drawing/2014/main" id="{19A80ABD-E90D-411F-BF88-7E1ED68E1846}"/>
              </a:ext>
            </a:extLst>
          </p:cNvPr>
          <p:cNvSpPr/>
          <p:nvPr/>
        </p:nvSpPr>
        <p:spPr>
          <a:xfrm flipH="1">
            <a:off x="6162090" y="3836703"/>
            <a:ext cx="168964" cy="16896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111" name="Ovale 110" descr="indicatori di sequenza temporale">
            <a:extLst>
              <a:ext uri="{FF2B5EF4-FFF2-40B4-BE49-F238E27FC236}">
                <a16:creationId xmlns:a16="http://schemas.microsoft.com/office/drawing/2014/main" id="{467F323A-16F5-4015-85F9-EED889A6702A}"/>
              </a:ext>
            </a:extLst>
          </p:cNvPr>
          <p:cNvSpPr/>
          <p:nvPr/>
        </p:nvSpPr>
        <p:spPr>
          <a:xfrm flipH="1">
            <a:off x="2512199" y="3831770"/>
            <a:ext cx="168964" cy="168964"/>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3" name="Titolo 2">
            <a:extLst>
              <a:ext uri="{FF2B5EF4-FFF2-40B4-BE49-F238E27FC236}">
                <a16:creationId xmlns:a16="http://schemas.microsoft.com/office/drawing/2014/main" id="{30A2CAEF-301A-49CC-8FE3-331B30F3C2D6}"/>
              </a:ext>
            </a:extLst>
          </p:cNvPr>
          <p:cNvSpPr>
            <a:spLocks noGrp="1"/>
          </p:cNvSpPr>
          <p:nvPr>
            <p:ph type="title"/>
          </p:nvPr>
        </p:nvSpPr>
        <p:spPr>
          <a:xfrm>
            <a:off x="4391247" y="578674"/>
            <a:ext cx="6174793" cy="601662"/>
          </a:xfrm>
        </p:spPr>
        <p:txBody>
          <a:bodyPr rtlCol="0">
            <a:normAutofit fontScale="90000"/>
          </a:bodyPr>
          <a:lstStyle/>
          <a:p>
            <a:pPr algn="l" rtl="0"/>
            <a:r>
              <a:rPr lang="it-IT" dirty="0"/>
              <a:t>Percorso</a:t>
            </a:r>
            <a:br>
              <a:rPr lang="it-IT" dirty="0"/>
            </a:br>
            <a:r>
              <a:rPr lang="it-IT" dirty="0"/>
              <a:t>di sperimentazione didattica</a:t>
            </a:r>
          </a:p>
        </p:txBody>
      </p:sp>
      <p:sp>
        <p:nvSpPr>
          <p:cNvPr id="2" name="Ovale 1">
            <a:extLst>
              <a:ext uri="{FF2B5EF4-FFF2-40B4-BE49-F238E27FC236}">
                <a16:creationId xmlns:a16="http://schemas.microsoft.com/office/drawing/2014/main" id="{F4E56D14-6EBE-8711-7DC0-C0C980E1A59D}"/>
              </a:ext>
              <a:ext uri="{C183D7F6-B498-43B3-948B-1728B52AA6E4}">
                <adec:decorative xmlns:adec="http://schemas.microsoft.com/office/drawing/2017/decorative" val="1"/>
              </a:ext>
            </a:extLst>
          </p:cNvPr>
          <p:cNvSpPr/>
          <p:nvPr/>
        </p:nvSpPr>
        <p:spPr>
          <a:xfrm>
            <a:off x="9111893" y="5667250"/>
            <a:ext cx="840963" cy="840963"/>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pic>
        <p:nvPicPr>
          <p:cNvPr id="5" name="Segnaposto immagine 69" descr="Attrezzi per giardinaggio">
            <a:extLst>
              <a:ext uri="{FF2B5EF4-FFF2-40B4-BE49-F238E27FC236}">
                <a16:creationId xmlns:a16="http://schemas.microsoft.com/office/drawing/2014/main" id="{E459319B-CEC0-5527-72C2-9BA401A8AAEE}"/>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9261459" y="5643894"/>
            <a:ext cx="887413" cy="889000"/>
          </a:xfrm>
          <a:prstGeom prst="rect">
            <a:avLst/>
          </a:prstGeom>
        </p:spPr>
      </p:pic>
      <p:sp>
        <p:nvSpPr>
          <p:cNvPr id="6" name="Segnaposto testo 56">
            <a:extLst>
              <a:ext uri="{FF2B5EF4-FFF2-40B4-BE49-F238E27FC236}">
                <a16:creationId xmlns:a16="http://schemas.microsoft.com/office/drawing/2014/main" id="{E1AC8709-F17D-E848-8F75-442FED931C60}"/>
              </a:ext>
            </a:extLst>
          </p:cNvPr>
          <p:cNvSpPr txBox="1">
            <a:spLocks/>
          </p:cNvSpPr>
          <p:nvPr/>
        </p:nvSpPr>
        <p:spPr>
          <a:xfrm>
            <a:off x="10248650" y="5749817"/>
            <a:ext cx="2138339" cy="299767"/>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mj-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a:solidFill>
                  <a:srgbClr val="000000"/>
                </a:solidFill>
              </a:rPr>
              <a:t>Formarsi per sperimentare</a:t>
            </a:r>
            <a:endParaRPr lang="it-IT" dirty="0"/>
          </a:p>
        </p:txBody>
      </p:sp>
      <p:cxnSp>
        <p:nvCxnSpPr>
          <p:cNvPr id="15" name="Connettore diritto 14">
            <a:extLst>
              <a:ext uri="{FF2B5EF4-FFF2-40B4-BE49-F238E27FC236}">
                <a16:creationId xmlns:a16="http://schemas.microsoft.com/office/drawing/2014/main" id="{7B57530C-1EB1-F23B-B525-4885CB329D36}"/>
              </a:ext>
            </a:extLst>
          </p:cNvPr>
          <p:cNvCxnSpPr>
            <a:cxnSpLocks/>
          </p:cNvCxnSpPr>
          <p:nvPr/>
        </p:nvCxnSpPr>
        <p:spPr>
          <a:xfrm flipH="1" flipV="1">
            <a:off x="5488542" y="6697852"/>
            <a:ext cx="2776509" cy="370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Ovale 15" descr="indicatori di sequenza temporale">
            <a:extLst>
              <a:ext uri="{FF2B5EF4-FFF2-40B4-BE49-F238E27FC236}">
                <a16:creationId xmlns:a16="http://schemas.microsoft.com/office/drawing/2014/main" id="{ACF655FD-8BA8-D6F7-00FB-9822F16C8F9B}"/>
              </a:ext>
            </a:extLst>
          </p:cNvPr>
          <p:cNvSpPr/>
          <p:nvPr/>
        </p:nvSpPr>
        <p:spPr>
          <a:xfrm flipH="1">
            <a:off x="8784040" y="5999150"/>
            <a:ext cx="168964" cy="168964"/>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ln>
                <a:solidFill>
                  <a:srgbClr val="000000"/>
                </a:solidFill>
              </a:ln>
            </a:endParaRPr>
          </a:p>
        </p:txBody>
      </p:sp>
      <p:sp>
        <p:nvSpPr>
          <p:cNvPr id="20" name="Arco 19">
            <a:extLst>
              <a:ext uri="{FF2B5EF4-FFF2-40B4-BE49-F238E27FC236}">
                <a16:creationId xmlns:a16="http://schemas.microsoft.com/office/drawing/2014/main" id="{39A6782B-D254-72C5-0F8C-11C56E8B3730}"/>
              </a:ext>
            </a:extLst>
          </p:cNvPr>
          <p:cNvSpPr/>
          <p:nvPr/>
        </p:nvSpPr>
        <p:spPr>
          <a:xfrm rot="16048261" flipH="1">
            <a:off x="5118954" y="5372089"/>
            <a:ext cx="850652" cy="1799518"/>
          </a:xfrm>
          <a:prstGeom prst="arc">
            <a:avLst>
              <a:gd name="adj1" fmla="val 16200000"/>
              <a:gd name="adj2" fmla="val 21053943"/>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sp>
        <p:nvSpPr>
          <p:cNvPr id="22" name="Arco 21">
            <a:extLst>
              <a:ext uri="{FF2B5EF4-FFF2-40B4-BE49-F238E27FC236}">
                <a16:creationId xmlns:a16="http://schemas.microsoft.com/office/drawing/2014/main" id="{C0BC2A05-13D4-D815-7985-69C2C57B2644}"/>
              </a:ext>
            </a:extLst>
          </p:cNvPr>
          <p:cNvSpPr/>
          <p:nvPr/>
        </p:nvSpPr>
        <p:spPr>
          <a:xfrm rot="10800000" flipH="1">
            <a:off x="7589080" y="5718571"/>
            <a:ext cx="1276961" cy="982478"/>
          </a:xfrm>
          <a:prstGeom prst="arc">
            <a:avLst>
              <a:gd name="adj1" fmla="val 16341335"/>
              <a:gd name="adj2" fmla="val 248125"/>
            </a:avLst>
          </a:prstGeom>
          <a:ln w="28575">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it-IT"/>
          </a:p>
        </p:txBody>
      </p:sp>
    </p:spTree>
    <p:extLst>
      <p:ext uri="{BB962C8B-B14F-4D97-AF65-F5344CB8AC3E}">
        <p14:creationId xmlns:p14="http://schemas.microsoft.com/office/powerpoint/2010/main" val="40815343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6728062F-8950-DCC4-848C-E9FD3EE6038C}"/>
              </a:ext>
            </a:extLst>
          </p:cNvPr>
          <p:cNvGraphicFramePr>
            <a:graphicFrameLocks noChangeAspect="1"/>
          </p:cNvGraphicFramePr>
          <p:nvPr>
            <p:custDataLst>
              <p:tags r:id="rId1"/>
            </p:custDataLst>
            <p:extLst>
              <p:ext uri="{D42A27DB-BD31-4B8C-83A1-F6EECF244321}">
                <p14:modId xmlns:p14="http://schemas.microsoft.com/office/powerpoint/2010/main" val="1123057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Segnaposto immagine 4" descr="primo piano delle pagine di un libro">
            <a:extLst>
              <a:ext uri="{FF2B5EF4-FFF2-40B4-BE49-F238E27FC236}">
                <a16:creationId xmlns:a16="http://schemas.microsoft.com/office/drawing/2014/main" id="{18718FBA-CF32-41C2-9D07-1F0F7F19F73C}"/>
              </a:ext>
            </a:extLst>
          </p:cNvPr>
          <p:cNvPicPr>
            <a:picLocks noGrp="1" noChangeAspect="1"/>
          </p:cNvPicPr>
          <p:nvPr>
            <p:ph type="pic" sz="quarter" idx="10"/>
          </p:nvPr>
        </p:nvPicPr>
        <p:blipFill rotWithShape="1">
          <a:blip r:embed="rId6" cstate="email">
            <a:extLst>
              <a:ext uri="{BEBA8EAE-BF5A-486C-A8C5-ECC9F3942E4B}">
                <a14:imgProps xmlns:a14="http://schemas.microsoft.com/office/drawing/2010/main">
                  <a14:imgLayer r:embed="rId7">
                    <a14:imgEffect>
                      <a14:brightnessContrast bright="-20000"/>
                    </a14:imgEffect>
                  </a14:imgLayer>
                </a14:imgProps>
              </a:ext>
              <a:ext uri="{28A0092B-C50C-407E-A947-70E740481C1C}">
                <a14:useLocalDpi xmlns:a14="http://schemas.microsoft.com/office/drawing/2010/main"/>
              </a:ext>
            </a:extLst>
          </a:blip>
          <a:srcRect/>
          <a:stretch/>
        </p:blipFill>
        <p:spPr/>
      </p:pic>
      <p:grpSp>
        <p:nvGrpSpPr>
          <p:cNvPr id="23" name="Gruppo 22">
            <a:extLst>
              <a:ext uri="{FF2B5EF4-FFF2-40B4-BE49-F238E27FC236}">
                <a16:creationId xmlns:a16="http://schemas.microsoft.com/office/drawing/2014/main" id="{28C94A8D-A234-408C-8281-33CCC01BE2A8}"/>
              </a:ext>
              <a:ext uri="{C183D7F6-B498-43B3-948B-1728B52AA6E4}">
                <adec:decorative xmlns:adec="http://schemas.microsoft.com/office/drawing/2017/decorative" val="1"/>
              </a:ext>
            </a:extLst>
          </p:cNvPr>
          <p:cNvGrpSpPr/>
          <p:nvPr/>
        </p:nvGrpSpPr>
        <p:grpSpPr>
          <a:xfrm>
            <a:off x="0" y="0"/>
            <a:ext cx="4750604" cy="6858000"/>
            <a:chOff x="0" y="0"/>
            <a:chExt cx="4750604" cy="6858000"/>
          </a:xfrm>
        </p:grpSpPr>
        <p:sp>
          <p:nvSpPr>
            <p:cNvPr id="22" name="Figura a mano libera: Forma 21">
              <a:extLst>
                <a:ext uri="{FF2B5EF4-FFF2-40B4-BE49-F238E27FC236}">
                  <a16:creationId xmlns:a16="http://schemas.microsoft.com/office/drawing/2014/main" id="{01887690-2EDF-4913-A835-4503B0E36442}"/>
                </a:ext>
              </a:extLst>
            </p:cNvPr>
            <p:cNvSpPr/>
            <p:nvPr/>
          </p:nvSpPr>
          <p:spPr>
            <a:xfrm>
              <a:off x="0" y="0"/>
              <a:ext cx="4750604" cy="6858000"/>
            </a:xfrm>
            <a:custGeom>
              <a:avLst/>
              <a:gdLst>
                <a:gd name="connsiteX0" fmla="*/ 0 w 4750604"/>
                <a:gd name="connsiteY0" fmla="*/ 0 h 6858000"/>
                <a:gd name="connsiteX1" fmla="*/ 4750604 w 4750604"/>
                <a:gd name="connsiteY1" fmla="*/ 0 h 6858000"/>
                <a:gd name="connsiteX2" fmla="*/ 3101407 w 4750604"/>
                <a:gd name="connsiteY2" fmla="*/ 6858000 h 6858000"/>
                <a:gd name="connsiteX3" fmla="*/ 0 w 475060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750604" h="6858000">
                  <a:moveTo>
                    <a:pt x="0" y="0"/>
                  </a:moveTo>
                  <a:lnTo>
                    <a:pt x="4750604" y="0"/>
                  </a:lnTo>
                  <a:lnTo>
                    <a:pt x="3101407" y="6858000"/>
                  </a:lnTo>
                  <a:lnTo>
                    <a:pt x="0" y="6858000"/>
                  </a:lnTo>
                  <a:close/>
                </a:path>
              </a:pathLst>
            </a:cu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18" name="Figura a mano libera: Forma 17">
              <a:extLst>
                <a:ext uri="{FF2B5EF4-FFF2-40B4-BE49-F238E27FC236}">
                  <a16:creationId xmlns:a16="http://schemas.microsoft.com/office/drawing/2014/main" id="{AD1E7D22-630D-4E19-8BE6-9C21E4A652BD}"/>
                </a:ext>
              </a:extLst>
            </p:cNvPr>
            <p:cNvSpPr/>
            <p:nvPr/>
          </p:nvSpPr>
          <p:spPr>
            <a:xfrm>
              <a:off x="1" y="0"/>
              <a:ext cx="3946799" cy="6858000"/>
            </a:xfrm>
            <a:custGeom>
              <a:avLst/>
              <a:gdLst>
                <a:gd name="connsiteX0" fmla="*/ 0 w 3946799"/>
                <a:gd name="connsiteY0" fmla="*/ 0 h 6858000"/>
                <a:gd name="connsiteX1" fmla="*/ 3946799 w 3946799"/>
                <a:gd name="connsiteY1" fmla="*/ 0 h 6858000"/>
                <a:gd name="connsiteX2" fmla="*/ 2297602 w 3946799"/>
                <a:gd name="connsiteY2" fmla="*/ 6858000 h 6858000"/>
                <a:gd name="connsiteX3" fmla="*/ 0 w 394679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946799" h="6858000">
                  <a:moveTo>
                    <a:pt x="0" y="0"/>
                  </a:moveTo>
                  <a:lnTo>
                    <a:pt x="3946799" y="0"/>
                  </a:lnTo>
                  <a:lnTo>
                    <a:pt x="2297602" y="6858000"/>
                  </a:lnTo>
                  <a:lnTo>
                    <a:pt x="0" y="6858000"/>
                  </a:lnTo>
                  <a:close/>
                </a:path>
              </a:pathLst>
            </a:custGeom>
            <a:solidFill>
              <a:schemeClr val="accent1">
                <a:lumMod val="75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16" name="Figura a mano libera: Forma 15">
              <a:extLst>
                <a:ext uri="{FF2B5EF4-FFF2-40B4-BE49-F238E27FC236}">
                  <a16:creationId xmlns:a16="http://schemas.microsoft.com/office/drawing/2014/main" id="{318BD405-EEE9-4A08-8DA2-A70AFCF1D240}"/>
                </a:ext>
              </a:extLst>
            </p:cNvPr>
            <p:cNvSpPr/>
            <p:nvPr/>
          </p:nvSpPr>
          <p:spPr>
            <a:xfrm>
              <a:off x="0" y="0"/>
              <a:ext cx="3723822" cy="6858000"/>
            </a:xfrm>
            <a:custGeom>
              <a:avLst/>
              <a:gdLst>
                <a:gd name="connsiteX0" fmla="*/ 0 w 3723822"/>
                <a:gd name="connsiteY0" fmla="*/ 0 h 6858000"/>
                <a:gd name="connsiteX1" fmla="*/ 3723822 w 3723822"/>
                <a:gd name="connsiteY1" fmla="*/ 0 h 6858000"/>
                <a:gd name="connsiteX2" fmla="*/ 2074625 w 3723822"/>
                <a:gd name="connsiteY2" fmla="*/ 6858000 h 6858000"/>
                <a:gd name="connsiteX3" fmla="*/ 0 w 372382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723822" h="6858000">
                  <a:moveTo>
                    <a:pt x="0" y="0"/>
                  </a:moveTo>
                  <a:lnTo>
                    <a:pt x="3723822" y="0"/>
                  </a:lnTo>
                  <a:lnTo>
                    <a:pt x="2074625" y="6858000"/>
                  </a:lnTo>
                  <a:lnTo>
                    <a:pt x="0" y="6858000"/>
                  </a:lnTo>
                  <a:close/>
                </a:path>
              </a:pathLst>
            </a:custGeom>
            <a:solidFill>
              <a:schemeClr val="accent1">
                <a:lumMod val="75000"/>
                <a:alpha val="4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14" name="Figura a mano libera: Forma 13">
              <a:extLst>
                <a:ext uri="{FF2B5EF4-FFF2-40B4-BE49-F238E27FC236}">
                  <a16:creationId xmlns:a16="http://schemas.microsoft.com/office/drawing/2014/main" id="{7D4A6826-2C0D-4C79-A871-DF31737EE4F7}"/>
                </a:ext>
              </a:extLst>
            </p:cNvPr>
            <p:cNvSpPr/>
            <p:nvPr/>
          </p:nvSpPr>
          <p:spPr>
            <a:xfrm>
              <a:off x="0" y="0"/>
              <a:ext cx="3374007" cy="6858000"/>
            </a:xfrm>
            <a:custGeom>
              <a:avLst/>
              <a:gdLst>
                <a:gd name="connsiteX0" fmla="*/ 0 w 3374007"/>
                <a:gd name="connsiteY0" fmla="*/ 0 h 6858000"/>
                <a:gd name="connsiteX1" fmla="*/ 3374007 w 3374007"/>
                <a:gd name="connsiteY1" fmla="*/ 0 h 6858000"/>
                <a:gd name="connsiteX2" fmla="*/ 1659507 w 3374007"/>
                <a:gd name="connsiteY2" fmla="*/ 6858000 h 6858000"/>
                <a:gd name="connsiteX3" fmla="*/ 0 w 337400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374007" h="6858000">
                  <a:moveTo>
                    <a:pt x="0" y="0"/>
                  </a:moveTo>
                  <a:lnTo>
                    <a:pt x="3374007" y="0"/>
                  </a:lnTo>
                  <a:lnTo>
                    <a:pt x="1659507" y="6858000"/>
                  </a:lnTo>
                  <a:lnTo>
                    <a:pt x="0" y="6858000"/>
                  </a:lnTo>
                  <a:close/>
                </a:path>
              </a:pathLst>
            </a:custGeom>
            <a:solidFill>
              <a:schemeClr val="accent1">
                <a:lumMod val="75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grpSp>
      <p:sp>
        <p:nvSpPr>
          <p:cNvPr id="34" name="Titolo 33" descr="titolo">
            <a:extLst>
              <a:ext uri="{FF2B5EF4-FFF2-40B4-BE49-F238E27FC236}">
                <a16:creationId xmlns:a16="http://schemas.microsoft.com/office/drawing/2014/main" id="{3749FE94-FC7C-4359-A56E-6C7A87BDEE87}"/>
              </a:ext>
            </a:extLst>
          </p:cNvPr>
          <p:cNvSpPr>
            <a:spLocks noGrp="1"/>
          </p:cNvSpPr>
          <p:nvPr>
            <p:ph type="title"/>
          </p:nvPr>
        </p:nvSpPr>
        <p:spPr>
          <a:xfrm>
            <a:off x="128704" y="949958"/>
            <a:ext cx="11685644" cy="2852737"/>
          </a:xfrm>
        </p:spPr>
        <p:txBody>
          <a:bodyPr vert="horz" rtlCol="0"/>
          <a:lstStyle/>
          <a:p>
            <a:pPr algn="ctr" rtl="0"/>
            <a:r>
              <a:rPr lang="it-IT" dirty="0"/>
              <a:t>Grazie</a:t>
            </a:r>
            <a:br>
              <a:rPr lang="it-IT" dirty="0"/>
            </a:br>
            <a:r>
              <a:rPr lang="it-IT" dirty="0"/>
              <a:t>per l’attenzione</a:t>
            </a:r>
            <a:br>
              <a:rPr lang="it-IT" dirty="0"/>
            </a:br>
            <a:r>
              <a:rPr lang="it-IT" dirty="0">
                <a:hlinkClick r:id="rId8"/>
              </a:rPr>
              <a:t>stefania.morsanuto@unipegaso.it</a:t>
            </a:r>
            <a:br>
              <a:rPr lang="it-IT" dirty="0"/>
            </a:br>
            <a:r>
              <a:rPr lang="it-IT" dirty="0">
                <a:hlinkClick r:id="rId9"/>
              </a:rPr>
              <a:t>https://www.ojs.gsdjournal.it</a:t>
            </a:r>
            <a:r>
              <a:rPr lang="it-IT" dirty="0"/>
              <a:t> </a:t>
            </a:r>
          </a:p>
        </p:txBody>
      </p:sp>
      <p:sp>
        <p:nvSpPr>
          <p:cNvPr id="7" name="Sottotitolo 2">
            <a:extLst>
              <a:ext uri="{FF2B5EF4-FFF2-40B4-BE49-F238E27FC236}">
                <a16:creationId xmlns:a16="http://schemas.microsoft.com/office/drawing/2014/main" id="{B8AB47D2-2935-F842-13AF-C6C044E8F140}"/>
              </a:ext>
            </a:extLst>
          </p:cNvPr>
          <p:cNvSpPr txBox="1">
            <a:spLocks/>
          </p:cNvSpPr>
          <p:nvPr/>
        </p:nvSpPr>
        <p:spPr>
          <a:xfrm>
            <a:off x="5221366" y="5033304"/>
            <a:ext cx="4178808" cy="521208"/>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lang="en-US" sz="1800" kern="1200" dirty="0">
                <a:solidFill>
                  <a:srgbClr val="B2606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a:solidFill>
                  <a:schemeClr val="bg1"/>
                </a:solidFill>
              </a:rPr>
              <a:t>«Una </a:t>
            </a:r>
            <a:r>
              <a:rPr lang="it-IT" dirty="0">
                <a:solidFill>
                  <a:schemeClr val="bg1"/>
                </a:solidFill>
              </a:rPr>
              <a:t>sola parola, logora, ma che brilla come una vecchia moneta: “</a:t>
            </a:r>
            <a:r>
              <a:rPr lang="it-IT">
                <a:solidFill>
                  <a:schemeClr val="bg1"/>
                </a:solidFill>
              </a:rPr>
              <a:t>Grazie!”»</a:t>
            </a:r>
            <a:endParaRPr lang="it-IT" dirty="0">
              <a:solidFill>
                <a:schemeClr val="bg1"/>
              </a:solidFill>
            </a:endParaRPr>
          </a:p>
          <a:p>
            <a:r>
              <a:rPr lang="it-IT" dirty="0">
                <a:solidFill>
                  <a:schemeClr val="bg1"/>
                </a:solidFill>
              </a:rPr>
              <a:t>(Pablo Neruda)</a:t>
            </a:r>
            <a:endParaRPr lang="it-IT" dirty="0"/>
          </a:p>
        </p:txBody>
      </p:sp>
      <p:grpSp>
        <p:nvGrpSpPr>
          <p:cNvPr id="8" name="Gruppo 7">
            <a:extLst>
              <a:ext uri="{FF2B5EF4-FFF2-40B4-BE49-F238E27FC236}">
                <a16:creationId xmlns:a16="http://schemas.microsoft.com/office/drawing/2014/main" id="{930C85FE-312D-302D-119D-AA79AAAFB225}"/>
              </a:ext>
            </a:extLst>
          </p:cNvPr>
          <p:cNvGrpSpPr/>
          <p:nvPr/>
        </p:nvGrpSpPr>
        <p:grpSpPr>
          <a:xfrm>
            <a:off x="6972633" y="4695503"/>
            <a:ext cx="676275" cy="114300"/>
            <a:chOff x="9330846" y="5054600"/>
            <a:chExt cx="676275" cy="114300"/>
          </a:xfrm>
          <a:solidFill>
            <a:schemeClr val="bg1"/>
          </a:solidFill>
        </p:grpSpPr>
        <p:sp>
          <p:nvSpPr>
            <p:cNvPr id="9" name="Ovale 8">
              <a:extLst>
                <a:ext uri="{FF2B5EF4-FFF2-40B4-BE49-F238E27FC236}">
                  <a16:creationId xmlns:a16="http://schemas.microsoft.com/office/drawing/2014/main" id="{59070181-04E7-970F-C411-2ECC78D82889}"/>
                </a:ext>
              </a:extLst>
            </p:cNvPr>
            <p:cNvSpPr/>
            <p:nvPr/>
          </p:nvSpPr>
          <p:spPr>
            <a:xfrm>
              <a:off x="9330846" y="505460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solidFill>
                  <a:schemeClr val="bg1"/>
                </a:solidFill>
              </a:endParaRPr>
            </a:p>
          </p:txBody>
        </p:sp>
        <p:sp>
          <p:nvSpPr>
            <p:cNvPr id="10" name="Ovale 9">
              <a:extLst>
                <a:ext uri="{FF2B5EF4-FFF2-40B4-BE49-F238E27FC236}">
                  <a16:creationId xmlns:a16="http://schemas.microsoft.com/office/drawing/2014/main" id="{434A0699-79F8-FCF7-2AF3-D8AF5B6B21A5}"/>
                </a:ext>
              </a:extLst>
            </p:cNvPr>
            <p:cNvSpPr/>
            <p:nvPr/>
          </p:nvSpPr>
          <p:spPr>
            <a:xfrm>
              <a:off x="9518171" y="505460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solidFill>
                  <a:schemeClr val="bg1"/>
                </a:solidFill>
              </a:endParaRPr>
            </a:p>
          </p:txBody>
        </p:sp>
        <p:sp>
          <p:nvSpPr>
            <p:cNvPr id="11" name="Ovale 10">
              <a:extLst>
                <a:ext uri="{FF2B5EF4-FFF2-40B4-BE49-F238E27FC236}">
                  <a16:creationId xmlns:a16="http://schemas.microsoft.com/office/drawing/2014/main" id="{4FF2E7EA-FCE7-74DE-D6C8-F340FE5747F7}"/>
                </a:ext>
              </a:extLst>
            </p:cNvPr>
            <p:cNvSpPr/>
            <p:nvPr/>
          </p:nvSpPr>
          <p:spPr>
            <a:xfrm>
              <a:off x="9705496" y="505460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solidFill>
                  <a:schemeClr val="bg1"/>
                </a:solidFill>
              </a:endParaRPr>
            </a:p>
          </p:txBody>
        </p:sp>
        <p:sp>
          <p:nvSpPr>
            <p:cNvPr id="12" name="Ovale 11">
              <a:extLst>
                <a:ext uri="{FF2B5EF4-FFF2-40B4-BE49-F238E27FC236}">
                  <a16:creationId xmlns:a16="http://schemas.microsoft.com/office/drawing/2014/main" id="{D9B079FF-3A11-E754-90D8-581AA1B6D3B6}"/>
                </a:ext>
              </a:extLst>
            </p:cNvPr>
            <p:cNvSpPr/>
            <p:nvPr/>
          </p:nvSpPr>
          <p:spPr>
            <a:xfrm>
              <a:off x="9892821" y="5054600"/>
              <a:ext cx="114300" cy="1143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solidFill>
                  <a:schemeClr val="bg1"/>
                </a:solidFill>
              </a:endParaRPr>
            </a:p>
          </p:txBody>
        </p:sp>
      </p:grpSp>
      <p:pic>
        <p:nvPicPr>
          <p:cNvPr id="25" name="Immagine 24" descr="Immagine che contiene cavallo, Carattere, testo, logo&#10;&#10;Descrizione generata automaticamente">
            <a:extLst>
              <a:ext uri="{FF2B5EF4-FFF2-40B4-BE49-F238E27FC236}">
                <a16:creationId xmlns:a16="http://schemas.microsoft.com/office/drawing/2014/main" id="{AAF34D74-C2EE-14EA-7010-D1BB194E91A1}"/>
              </a:ext>
            </a:extLst>
          </p:cNvPr>
          <p:cNvPicPr>
            <a:picLocks noChangeAspect="1"/>
          </p:cNvPicPr>
          <p:nvPr/>
        </p:nvPicPr>
        <p:blipFill>
          <a:blip r:embed="rId10"/>
          <a:stretch>
            <a:fillRect/>
          </a:stretch>
        </p:blipFill>
        <p:spPr>
          <a:xfrm>
            <a:off x="128704" y="5554512"/>
            <a:ext cx="1190098" cy="932400"/>
          </a:xfrm>
          <a:prstGeom prst="rect">
            <a:avLst/>
          </a:prstGeom>
        </p:spPr>
      </p:pic>
    </p:spTree>
    <p:extLst>
      <p:ext uri="{BB962C8B-B14F-4D97-AF65-F5344CB8AC3E}">
        <p14:creationId xmlns:p14="http://schemas.microsoft.com/office/powerpoint/2010/main" val="10778161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4">
            <a:extLst>
              <a:ext uri="{FF2B5EF4-FFF2-40B4-BE49-F238E27FC236}">
                <a16:creationId xmlns:a16="http://schemas.microsoft.com/office/drawing/2014/main" id="{E20A6061-D7D6-F4C2-53AE-0C20087F8069}"/>
              </a:ext>
            </a:extLst>
          </p:cNvPr>
          <p:cNvSpPr>
            <a:spLocks noGrp="1"/>
          </p:cNvSpPr>
          <p:nvPr>
            <p:ph type="title"/>
          </p:nvPr>
        </p:nvSpPr>
        <p:spPr/>
        <p:txBody>
          <a:bodyPr/>
          <a:lstStyle/>
          <a:p>
            <a:r>
              <a:rPr lang="it-IT" b="1" dirty="0"/>
              <a:t>Backup</a:t>
            </a:r>
          </a:p>
        </p:txBody>
      </p:sp>
    </p:spTree>
    <p:extLst>
      <p:ext uri="{BB962C8B-B14F-4D97-AF65-F5344CB8AC3E}">
        <p14:creationId xmlns:p14="http://schemas.microsoft.com/office/powerpoint/2010/main" val="23794889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354BD073-7815-64B1-69A9-3FE662681AD2}"/>
              </a:ext>
            </a:extLst>
          </p:cNvPr>
          <p:cNvGraphicFramePr>
            <a:graphicFrameLocks noChangeAspect="1"/>
          </p:cNvGraphicFramePr>
          <p:nvPr>
            <p:custDataLst>
              <p:tags r:id="rId1"/>
            </p:custDataLst>
            <p:extLst>
              <p:ext uri="{D42A27DB-BD31-4B8C-83A1-F6EECF244321}">
                <p14:modId xmlns:p14="http://schemas.microsoft.com/office/powerpoint/2010/main" val="592733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Segnaposto immagine 12" descr="persone sorridenti che guardano lo schermo di un portatile">
            <a:extLst>
              <a:ext uri="{FF2B5EF4-FFF2-40B4-BE49-F238E27FC236}">
                <a16:creationId xmlns:a16="http://schemas.microsoft.com/office/drawing/2014/main" id="{9402120B-1989-41A6-9ED1-21A56316A60D}"/>
              </a:ext>
            </a:extLst>
          </p:cNvPr>
          <p:cNvPicPr>
            <a:picLocks noGrp="1" noChangeAspect="1"/>
          </p:cNvPicPr>
          <p:nvPr>
            <p:ph type="pic" sz="quarter" idx="12"/>
          </p:nvPr>
        </p:nvPicPr>
        <p:blipFill rotWithShape="1">
          <a:blip r:embed="rId6" cstate="email">
            <a:extLst>
              <a:ext uri="{28A0092B-C50C-407E-A947-70E740481C1C}">
                <a14:useLocalDpi xmlns:a14="http://schemas.microsoft.com/office/drawing/2010/main"/>
              </a:ext>
            </a:extLst>
          </a:blip>
          <a:srcRect/>
          <a:stretch/>
        </p:blipFill>
        <p:spPr>
          <a:xfrm>
            <a:off x="0" y="0"/>
            <a:ext cx="8087304" cy="6858000"/>
          </a:xfrm>
        </p:spPr>
      </p:pic>
      <p:pic>
        <p:nvPicPr>
          <p:cNvPr id="5" name="Segnaposto immagine 4" descr="gruppo di studenti alla laurea">
            <a:extLst>
              <a:ext uri="{FF2B5EF4-FFF2-40B4-BE49-F238E27FC236}">
                <a16:creationId xmlns:a16="http://schemas.microsoft.com/office/drawing/2014/main" id="{BD0958B7-E663-4510-9C53-EE09FEEB7365}"/>
              </a:ext>
            </a:extLst>
          </p:cNvPr>
          <p:cNvPicPr>
            <a:picLocks noGrp="1" noChangeAspect="1"/>
          </p:cNvPicPr>
          <p:nvPr>
            <p:ph type="pic" sz="quarter" idx="13"/>
          </p:nvPr>
        </p:nvPicPr>
        <p:blipFill rotWithShape="1">
          <a:blip r:embed="rId7" cstate="email">
            <a:extLst>
              <a:ext uri="{28A0092B-C50C-407E-A947-70E740481C1C}">
                <a14:useLocalDpi xmlns:a14="http://schemas.microsoft.com/office/drawing/2010/main"/>
              </a:ext>
            </a:extLst>
          </a:blip>
          <a:srcRect/>
          <a:stretch/>
        </p:blipFill>
        <p:spPr>
          <a:xfrm>
            <a:off x="6464300" y="0"/>
            <a:ext cx="5727700" cy="6858000"/>
          </a:xfrm>
        </p:spPr>
      </p:pic>
      <p:grpSp>
        <p:nvGrpSpPr>
          <p:cNvPr id="9" name="Gruppo 8">
            <a:extLst>
              <a:ext uri="{FF2B5EF4-FFF2-40B4-BE49-F238E27FC236}">
                <a16:creationId xmlns:a16="http://schemas.microsoft.com/office/drawing/2014/main" id="{E7969C14-1078-4610-9BC5-74119C9B87BE}"/>
              </a:ext>
              <a:ext uri="{C183D7F6-B498-43B3-948B-1728B52AA6E4}">
                <adec:decorative xmlns:adec="http://schemas.microsoft.com/office/drawing/2017/decorative" val="1"/>
              </a:ext>
            </a:extLst>
          </p:cNvPr>
          <p:cNvGrpSpPr/>
          <p:nvPr/>
        </p:nvGrpSpPr>
        <p:grpSpPr>
          <a:xfrm>
            <a:off x="0" y="3808320"/>
            <a:ext cx="7833208" cy="2547440"/>
            <a:chOff x="0" y="3808320"/>
            <a:chExt cx="7833208" cy="2547440"/>
          </a:xfrm>
        </p:grpSpPr>
        <p:sp>
          <p:nvSpPr>
            <p:cNvPr id="10" name="Figura a mano libera: Forma 9">
              <a:extLst>
                <a:ext uri="{FF2B5EF4-FFF2-40B4-BE49-F238E27FC236}">
                  <a16:creationId xmlns:a16="http://schemas.microsoft.com/office/drawing/2014/main" id="{E531D018-EFA3-4346-AB80-7CE436393D9E}"/>
                </a:ext>
              </a:extLst>
            </p:cNvPr>
            <p:cNvSpPr/>
            <p:nvPr/>
          </p:nvSpPr>
          <p:spPr>
            <a:xfrm>
              <a:off x="0" y="3808320"/>
              <a:ext cx="7833208" cy="2547440"/>
            </a:xfrm>
            <a:custGeom>
              <a:avLst/>
              <a:gdLst>
                <a:gd name="connsiteX0" fmla="*/ 0 w 7833208"/>
                <a:gd name="connsiteY0" fmla="*/ 0 h 2547440"/>
                <a:gd name="connsiteX1" fmla="*/ 7833208 w 7833208"/>
                <a:gd name="connsiteY1" fmla="*/ 0 h 2547440"/>
                <a:gd name="connsiteX2" fmla="*/ 7135846 w 7833208"/>
                <a:gd name="connsiteY2" fmla="*/ 2547440 h 2547440"/>
                <a:gd name="connsiteX3" fmla="*/ 0 w 7833208"/>
                <a:gd name="connsiteY3" fmla="*/ 2547440 h 2547440"/>
              </a:gdLst>
              <a:ahLst/>
              <a:cxnLst>
                <a:cxn ang="0">
                  <a:pos x="connsiteX0" y="connsiteY0"/>
                </a:cxn>
                <a:cxn ang="0">
                  <a:pos x="connsiteX1" y="connsiteY1"/>
                </a:cxn>
                <a:cxn ang="0">
                  <a:pos x="connsiteX2" y="connsiteY2"/>
                </a:cxn>
                <a:cxn ang="0">
                  <a:pos x="connsiteX3" y="connsiteY3"/>
                </a:cxn>
              </a:cxnLst>
              <a:rect l="l" t="t" r="r" b="b"/>
              <a:pathLst>
                <a:path w="7833208" h="2547440">
                  <a:moveTo>
                    <a:pt x="0" y="0"/>
                  </a:moveTo>
                  <a:lnTo>
                    <a:pt x="7833208" y="0"/>
                  </a:lnTo>
                  <a:lnTo>
                    <a:pt x="7135846" y="2547440"/>
                  </a:lnTo>
                  <a:lnTo>
                    <a:pt x="0" y="2547440"/>
                  </a:ln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11" name="Figura a mano libera: Forma 10">
              <a:extLst>
                <a:ext uri="{FF2B5EF4-FFF2-40B4-BE49-F238E27FC236}">
                  <a16:creationId xmlns:a16="http://schemas.microsoft.com/office/drawing/2014/main" id="{FA9D7AC8-80D5-49DC-A585-FCFFA6CA4B66}"/>
                </a:ext>
              </a:extLst>
            </p:cNvPr>
            <p:cNvSpPr/>
            <p:nvPr/>
          </p:nvSpPr>
          <p:spPr>
            <a:xfrm>
              <a:off x="1" y="3808320"/>
              <a:ext cx="7692571" cy="2547440"/>
            </a:xfrm>
            <a:custGeom>
              <a:avLst/>
              <a:gdLst>
                <a:gd name="connsiteX0" fmla="*/ 0 w 7692571"/>
                <a:gd name="connsiteY0" fmla="*/ 0 h 2547440"/>
                <a:gd name="connsiteX1" fmla="*/ 7692571 w 7692571"/>
                <a:gd name="connsiteY1" fmla="*/ 0 h 2547440"/>
                <a:gd name="connsiteX2" fmla="*/ 6995209 w 7692571"/>
                <a:gd name="connsiteY2" fmla="*/ 2547440 h 2547440"/>
                <a:gd name="connsiteX3" fmla="*/ 0 w 7692571"/>
                <a:gd name="connsiteY3" fmla="*/ 2547440 h 2547440"/>
              </a:gdLst>
              <a:ahLst/>
              <a:cxnLst>
                <a:cxn ang="0">
                  <a:pos x="connsiteX0" y="connsiteY0"/>
                </a:cxn>
                <a:cxn ang="0">
                  <a:pos x="connsiteX1" y="connsiteY1"/>
                </a:cxn>
                <a:cxn ang="0">
                  <a:pos x="connsiteX2" y="connsiteY2"/>
                </a:cxn>
                <a:cxn ang="0">
                  <a:pos x="connsiteX3" y="connsiteY3"/>
                </a:cxn>
              </a:cxnLst>
              <a:rect l="l" t="t" r="r" b="b"/>
              <a:pathLst>
                <a:path w="7692571" h="2547440">
                  <a:moveTo>
                    <a:pt x="0" y="0"/>
                  </a:moveTo>
                  <a:lnTo>
                    <a:pt x="7692571" y="0"/>
                  </a:lnTo>
                  <a:lnTo>
                    <a:pt x="6995209" y="2547440"/>
                  </a:lnTo>
                  <a:lnTo>
                    <a:pt x="0" y="254744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grpSp>
      <p:sp>
        <p:nvSpPr>
          <p:cNvPr id="33" name="Titolo 32" descr="titolo">
            <a:extLst>
              <a:ext uri="{FF2B5EF4-FFF2-40B4-BE49-F238E27FC236}">
                <a16:creationId xmlns:a16="http://schemas.microsoft.com/office/drawing/2014/main" id="{18CDD97B-6E25-4FB4-B239-493E54AA0830}"/>
              </a:ext>
            </a:extLst>
          </p:cNvPr>
          <p:cNvSpPr>
            <a:spLocks noGrp="1"/>
          </p:cNvSpPr>
          <p:nvPr>
            <p:ph type="title"/>
          </p:nvPr>
        </p:nvSpPr>
        <p:spPr/>
        <p:txBody>
          <a:bodyPr vert="horz" rtlCol="0"/>
          <a:lstStyle/>
          <a:p>
            <a:pPr rtl="0"/>
            <a:r>
              <a:rPr lang="it-IT" sz="3600" dirty="0">
                <a:solidFill>
                  <a:schemeClr val="bg1"/>
                </a:solidFill>
              </a:rPr>
              <a:t>5.</a:t>
            </a:r>
            <a:br>
              <a:rPr lang="it-IT" sz="3600" dirty="0">
                <a:solidFill>
                  <a:schemeClr val="bg1"/>
                </a:solidFill>
              </a:rPr>
            </a:br>
            <a:r>
              <a:rPr lang="it-IT" sz="3600" dirty="0">
                <a:solidFill>
                  <a:schemeClr val="bg1"/>
                </a:solidFill>
              </a:rPr>
              <a:t>Le Unità formative</a:t>
            </a:r>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2" name="Segnaposto numero diapositiva 5" descr="numero diapositiva">
            <a:extLst>
              <a:ext uri="{FF2B5EF4-FFF2-40B4-BE49-F238E27FC236}">
                <a16:creationId xmlns:a16="http://schemas.microsoft.com/office/drawing/2014/main" id="{B7F99E8F-CFBF-4A36-93EC-B66007DF4F2C}"/>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44</a:t>
            </a:fld>
            <a:endParaRPr lang="it-IT" sz="1200">
              <a:solidFill>
                <a:schemeClr val="bg1"/>
              </a:solidFill>
            </a:endParaRPr>
          </a:p>
        </p:txBody>
      </p:sp>
    </p:spTree>
    <p:extLst>
      <p:ext uri="{BB962C8B-B14F-4D97-AF65-F5344CB8AC3E}">
        <p14:creationId xmlns:p14="http://schemas.microsoft.com/office/powerpoint/2010/main" val="164592858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0E0C7720-8FDF-BD63-849A-1EE6FE97A629}"/>
              </a:ext>
            </a:extLst>
          </p:cNvPr>
          <p:cNvGraphicFramePr>
            <a:graphicFrameLocks noChangeAspect="1"/>
          </p:cNvGraphicFramePr>
          <p:nvPr>
            <p:custDataLst>
              <p:tags r:id="rId1"/>
            </p:custDataLst>
            <p:extLst>
              <p:ext uri="{D42A27DB-BD31-4B8C-83A1-F6EECF244321}">
                <p14:modId xmlns:p14="http://schemas.microsoft.com/office/powerpoint/2010/main" val="2456327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Segnaposto immagine 8" descr="Due ragazzi affacciati su un ponte.">
            <a:extLst>
              <a:ext uri="{FF2B5EF4-FFF2-40B4-BE49-F238E27FC236}">
                <a16:creationId xmlns:a16="http://schemas.microsoft.com/office/drawing/2014/main" id="{B4DB50D3-94C9-4471-8076-F037B6C11D8A}"/>
              </a:ext>
            </a:extLst>
          </p:cNvPr>
          <p:cNvPicPr>
            <a:picLocks noGrp="1" noChangeAspect="1"/>
          </p:cNvPicPr>
          <p:nvPr>
            <p:ph type="pic" sz="quarter" idx="10"/>
          </p:nvPr>
        </p:nvPicPr>
        <p:blipFill>
          <a:blip r:embed="rId6">
            <a:extLst>
              <a:ext uri="{BEBA8EAE-BF5A-486C-A8C5-ECC9F3942E4B}">
                <a14:imgProps xmlns:a14="http://schemas.microsoft.com/office/drawing/2010/main">
                  <a14:imgLayer r:embed="rId7">
                    <a14:imgEffect>
                      <a14:brightnessContrast bright="-20000"/>
                    </a14:imgEffect>
                  </a14:imgLayer>
                </a14:imgProps>
              </a:ext>
              <a:ext uri="{28A0092B-C50C-407E-A947-70E740481C1C}">
                <a14:useLocalDpi xmlns:a14="http://schemas.microsoft.com/office/drawing/2010/main"/>
              </a:ext>
            </a:extLst>
          </a:blip>
          <a:srcRect/>
          <a:stretch>
            <a:fillRect/>
          </a:stretch>
        </p:blipFill>
        <p:spPr>
          <a:xfrm>
            <a:off x="1" y="0"/>
            <a:ext cx="12192000" cy="6858000"/>
          </a:xfrm>
        </p:spPr>
      </p:pic>
      <p:grpSp>
        <p:nvGrpSpPr>
          <p:cNvPr id="7" name="Gruppo 6">
            <a:extLst>
              <a:ext uri="{FF2B5EF4-FFF2-40B4-BE49-F238E27FC236}">
                <a16:creationId xmlns:a16="http://schemas.microsoft.com/office/drawing/2014/main" id="{F5325EDA-7343-463C-83EC-5D799E8B8195}"/>
              </a:ext>
              <a:ext uri="{C183D7F6-B498-43B3-948B-1728B52AA6E4}">
                <adec:decorative xmlns:adec="http://schemas.microsoft.com/office/drawing/2017/decorative" val="1"/>
              </a:ext>
            </a:extLst>
          </p:cNvPr>
          <p:cNvGrpSpPr/>
          <p:nvPr/>
        </p:nvGrpSpPr>
        <p:grpSpPr>
          <a:xfrm>
            <a:off x="9621170" y="0"/>
            <a:ext cx="2570831" cy="6858001"/>
            <a:chOff x="9621170" y="0"/>
            <a:chExt cx="2570831" cy="6858001"/>
          </a:xfrm>
        </p:grpSpPr>
        <p:sp>
          <p:nvSpPr>
            <p:cNvPr id="32" name="Figura a mano libera: Forma 31">
              <a:extLst>
                <a:ext uri="{FF2B5EF4-FFF2-40B4-BE49-F238E27FC236}">
                  <a16:creationId xmlns:a16="http://schemas.microsoft.com/office/drawing/2014/main" id="{25DFF88D-A516-4508-BC03-10D68E4034CF}"/>
                </a:ext>
              </a:extLst>
            </p:cNvPr>
            <p:cNvSpPr/>
            <p:nvPr/>
          </p:nvSpPr>
          <p:spPr>
            <a:xfrm>
              <a:off x="9621170" y="0"/>
              <a:ext cx="2570831" cy="6858000"/>
            </a:xfrm>
            <a:custGeom>
              <a:avLst/>
              <a:gdLst>
                <a:gd name="connsiteX0" fmla="*/ 1649197 w 2570831"/>
                <a:gd name="connsiteY0" fmla="*/ 0 h 6858000"/>
                <a:gd name="connsiteX1" fmla="*/ 2570831 w 2570831"/>
                <a:gd name="connsiteY1" fmla="*/ 0 h 6858000"/>
                <a:gd name="connsiteX2" fmla="*/ 2570831 w 2570831"/>
                <a:gd name="connsiteY2" fmla="*/ 6858000 h 6858000"/>
                <a:gd name="connsiteX3" fmla="*/ 0 w 25708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570831" h="6858000">
                  <a:moveTo>
                    <a:pt x="1649197" y="0"/>
                  </a:moveTo>
                  <a:lnTo>
                    <a:pt x="2570831" y="0"/>
                  </a:lnTo>
                  <a:lnTo>
                    <a:pt x="2570831" y="6858000"/>
                  </a:lnTo>
                  <a:lnTo>
                    <a:pt x="0" y="6858000"/>
                  </a:lnTo>
                  <a:close/>
                </a:path>
              </a:pathLst>
            </a:custGeom>
            <a:solidFill>
              <a:schemeClr val="bg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30" name="Figura a mano libera: Forma 29">
              <a:extLst>
                <a:ext uri="{FF2B5EF4-FFF2-40B4-BE49-F238E27FC236}">
                  <a16:creationId xmlns:a16="http://schemas.microsoft.com/office/drawing/2014/main" id="{F990A05A-2B0C-4EA2-8A33-D5A7D8C1BC4F}"/>
                </a:ext>
              </a:extLst>
            </p:cNvPr>
            <p:cNvSpPr/>
            <p:nvPr/>
          </p:nvSpPr>
          <p:spPr>
            <a:xfrm>
              <a:off x="9754598" y="0"/>
              <a:ext cx="2437402" cy="6858000"/>
            </a:xfrm>
            <a:custGeom>
              <a:avLst/>
              <a:gdLst>
                <a:gd name="connsiteX0" fmla="*/ 1649197 w 2437402"/>
                <a:gd name="connsiteY0" fmla="*/ 0 h 6858000"/>
                <a:gd name="connsiteX1" fmla="*/ 2437402 w 2437402"/>
                <a:gd name="connsiteY1" fmla="*/ 0 h 6858000"/>
                <a:gd name="connsiteX2" fmla="*/ 2437402 w 2437402"/>
                <a:gd name="connsiteY2" fmla="*/ 6858000 h 6858000"/>
                <a:gd name="connsiteX3" fmla="*/ 0 w 243740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437402" h="6858000">
                  <a:moveTo>
                    <a:pt x="1649197" y="0"/>
                  </a:moveTo>
                  <a:lnTo>
                    <a:pt x="2437402" y="0"/>
                  </a:lnTo>
                  <a:lnTo>
                    <a:pt x="2437402" y="6858000"/>
                  </a:lnTo>
                  <a:lnTo>
                    <a:pt x="0" y="6858000"/>
                  </a:lnTo>
                  <a:close/>
                </a:path>
              </a:pathLst>
            </a:custGeom>
            <a:solidFill>
              <a:schemeClr val="bg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28" name="Figura a mano libera: Forma 27">
              <a:extLst>
                <a:ext uri="{FF2B5EF4-FFF2-40B4-BE49-F238E27FC236}">
                  <a16:creationId xmlns:a16="http://schemas.microsoft.com/office/drawing/2014/main" id="{79BF84DA-56CC-4319-9B18-B6303F93EF5A}"/>
                </a:ext>
              </a:extLst>
            </p:cNvPr>
            <p:cNvSpPr/>
            <p:nvPr/>
          </p:nvSpPr>
          <p:spPr>
            <a:xfrm>
              <a:off x="10011320" y="0"/>
              <a:ext cx="2180680" cy="6858000"/>
            </a:xfrm>
            <a:custGeom>
              <a:avLst/>
              <a:gdLst>
                <a:gd name="connsiteX0" fmla="*/ 1649197 w 2180680"/>
                <a:gd name="connsiteY0" fmla="*/ 0 h 6858000"/>
                <a:gd name="connsiteX1" fmla="*/ 2180680 w 2180680"/>
                <a:gd name="connsiteY1" fmla="*/ 0 h 6858000"/>
                <a:gd name="connsiteX2" fmla="*/ 2180680 w 2180680"/>
                <a:gd name="connsiteY2" fmla="*/ 6858000 h 6858000"/>
                <a:gd name="connsiteX3" fmla="*/ 0 w 218068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80680" h="6858000">
                  <a:moveTo>
                    <a:pt x="1649197" y="0"/>
                  </a:moveTo>
                  <a:lnTo>
                    <a:pt x="2180680" y="0"/>
                  </a:lnTo>
                  <a:lnTo>
                    <a:pt x="2180680" y="6858000"/>
                  </a:lnTo>
                  <a:lnTo>
                    <a:pt x="0" y="6858000"/>
                  </a:lnTo>
                  <a:close/>
                </a:path>
              </a:pathLst>
            </a:cu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26" name="Figura a mano libera: Forma 25">
              <a:extLst>
                <a:ext uri="{FF2B5EF4-FFF2-40B4-BE49-F238E27FC236}">
                  <a16:creationId xmlns:a16="http://schemas.microsoft.com/office/drawing/2014/main" id="{3FE4855B-D7C3-4EA7-8050-5BDDB9E3A78A}"/>
                </a:ext>
              </a:extLst>
            </p:cNvPr>
            <p:cNvSpPr/>
            <p:nvPr/>
          </p:nvSpPr>
          <p:spPr>
            <a:xfrm>
              <a:off x="10544156" y="5626"/>
              <a:ext cx="1647844" cy="6852374"/>
            </a:xfrm>
            <a:custGeom>
              <a:avLst/>
              <a:gdLst>
                <a:gd name="connsiteX0" fmla="*/ 1647844 w 1647844"/>
                <a:gd name="connsiteY0" fmla="*/ 0 h 6852374"/>
                <a:gd name="connsiteX1" fmla="*/ 1647844 w 1647844"/>
                <a:gd name="connsiteY1" fmla="*/ 6852374 h 6852374"/>
                <a:gd name="connsiteX2" fmla="*/ 0 w 1647844"/>
                <a:gd name="connsiteY2" fmla="*/ 6852374 h 6852374"/>
              </a:gdLst>
              <a:ahLst/>
              <a:cxnLst>
                <a:cxn ang="0">
                  <a:pos x="connsiteX0" y="connsiteY0"/>
                </a:cxn>
                <a:cxn ang="0">
                  <a:pos x="connsiteX1" y="connsiteY1"/>
                </a:cxn>
                <a:cxn ang="0">
                  <a:pos x="connsiteX2" y="connsiteY2"/>
                </a:cxn>
              </a:cxnLst>
              <a:rect l="l" t="t" r="r" b="b"/>
              <a:pathLst>
                <a:path w="1647844" h="6852374">
                  <a:moveTo>
                    <a:pt x="1647844" y="0"/>
                  </a:moveTo>
                  <a:lnTo>
                    <a:pt x="1647844" y="6852374"/>
                  </a:lnTo>
                  <a:lnTo>
                    <a:pt x="0" y="6852374"/>
                  </a:lnTo>
                  <a:close/>
                </a:path>
              </a:pathLst>
            </a:cu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24" name="Figura a mano libera: Forma 23">
              <a:extLst>
                <a:ext uri="{FF2B5EF4-FFF2-40B4-BE49-F238E27FC236}">
                  <a16:creationId xmlns:a16="http://schemas.microsoft.com/office/drawing/2014/main" id="{EC066EC5-6C2C-4006-B87D-E6C5CFDEF302}"/>
                </a:ext>
              </a:extLst>
            </p:cNvPr>
            <p:cNvSpPr/>
            <p:nvPr/>
          </p:nvSpPr>
          <p:spPr>
            <a:xfrm>
              <a:off x="10803086" y="1082358"/>
              <a:ext cx="1388914" cy="5775643"/>
            </a:xfrm>
            <a:custGeom>
              <a:avLst/>
              <a:gdLst>
                <a:gd name="connsiteX0" fmla="*/ 1388914 w 1388914"/>
                <a:gd name="connsiteY0" fmla="*/ 0 h 5775643"/>
                <a:gd name="connsiteX1" fmla="*/ 1388914 w 1388914"/>
                <a:gd name="connsiteY1" fmla="*/ 5775643 h 5775643"/>
                <a:gd name="connsiteX2" fmla="*/ 0 w 1388914"/>
                <a:gd name="connsiteY2" fmla="*/ 5775643 h 5775643"/>
              </a:gdLst>
              <a:ahLst/>
              <a:cxnLst>
                <a:cxn ang="0">
                  <a:pos x="connsiteX0" y="connsiteY0"/>
                </a:cxn>
                <a:cxn ang="0">
                  <a:pos x="connsiteX1" y="connsiteY1"/>
                </a:cxn>
                <a:cxn ang="0">
                  <a:pos x="connsiteX2" y="connsiteY2"/>
                </a:cxn>
              </a:cxnLst>
              <a:rect l="l" t="t" r="r" b="b"/>
              <a:pathLst>
                <a:path w="1388914" h="5775643">
                  <a:moveTo>
                    <a:pt x="1388914" y="0"/>
                  </a:moveTo>
                  <a:lnTo>
                    <a:pt x="1388914" y="5775643"/>
                  </a:lnTo>
                  <a:lnTo>
                    <a:pt x="0" y="577564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sz="3600" dirty="0"/>
              <a:t>Unità formative. Aspetti qualitativi</a:t>
            </a:r>
          </a:p>
        </p:txBody>
      </p:sp>
      <p:pic>
        <p:nvPicPr>
          <p:cNvPr id="40" name="Segnaposto contenuto 79" descr="Libro aperto">
            <a:extLst>
              <a:ext uri="{FF2B5EF4-FFF2-40B4-BE49-F238E27FC236}">
                <a16:creationId xmlns:a16="http://schemas.microsoft.com/office/drawing/2014/main" id="{C997398D-3BA0-47F4-93CE-55576CE45E21}"/>
              </a:ext>
            </a:extLst>
          </p:cNvPr>
          <p:cNvPicPr>
            <a:picLocks noGrp="1" noChangeAspect="1"/>
          </p:cNvPicPr>
          <p:nvPr>
            <p:ph sz="quarter" idx="13"/>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1204" y="1331097"/>
            <a:ext cx="548640" cy="548640"/>
          </a:xfrm>
        </p:spPr>
      </p:pic>
      <p:sp>
        <p:nvSpPr>
          <p:cNvPr id="31" name="Segnaposto testo 30" descr="Contenuto diapositiva">
            <a:extLst>
              <a:ext uri="{FF2B5EF4-FFF2-40B4-BE49-F238E27FC236}">
                <a16:creationId xmlns:a16="http://schemas.microsoft.com/office/drawing/2014/main" id="{A7DE1A1C-1BA0-439B-99B1-C80C5806DEFB}"/>
              </a:ext>
            </a:extLst>
          </p:cNvPr>
          <p:cNvSpPr>
            <a:spLocks noGrp="1"/>
          </p:cNvSpPr>
          <p:nvPr>
            <p:ph type="body" sz="quarter" idx="11"/>
          </p:nvPr>
        </p:nvSpPr>
        <p:spPr>
          <a:xfrm>
            <a:off x="697552" y="1269105"/>
            <a:ext cx="6214907" cy="4277101"/>
          </a:xfrm>
        </p:spPr>
        <p:txBody>
          <a:bodyPr rtlCol="0"/>
          <a:lstStyle/>
          <a:p>
            <a:pPr rtl="0"/>
            <a:r>
              <a:rPr lang="it-IT" sz="1800" dirty="0"/>
              <a:t>Le attività di formazione devono essere articolate in </a:t>
            </a:r>
            <a:r>
              <a:rPr lang="it-IT" sz="1800" b="1" dirty="0"/>
              <a:t>Unità Formative.</a:t>
            </a:r>
          </a:p>
          <a:p>
            <a:pPr rtl="0"/>
            <a:r>
              <a:rPr lang="it-IT" sz="1800" dirty="0"/>
              <a:t>Ogni Unità dovrà indicare la </a:t>
            </a:r>
            <a:r>
              <a:rPr lang="it-IT" sz="1800" b="1" dirty="0"/>
              <a:t>struttura</a:t>
            </a:r>
            <a:r>
              <a:rPr lang="it-IT" sz="1800" dirty="0"/>
              <a:t> </a:t>
            </a:r>
            <a:r>
              <a:rPr lang="it-IT" sz="1800" b="1" dirty="0"/>
              <a:t>di massima</a:t>
            </a:r>
            <a:r>
              <a:rPr lang="it-IT" sz="1800" dirty="0"/>
              <a:t> del </a:t>
            </a:r>
            <a:r>
              <a:rPr lang="it-IT" sz="1800" b="1" dirty="0"/>
              <a:t>percorso formativo</a:t>
            </a:r>
          </a:p>
          <a:p>
            <a:pPr rtl="0"/>
            <a:r>
              <a:rPr lang="it-IT" sz="1800" dirty="0"/>
              <a:t>Qualificare, prima che quantificare, l’</a:t>
            </a:r>
            <a:r>
              <a:rPr lang="it-IT" sz="1800" b="1" dirty="0"/>
              <a:t>impegno del docente </a:t>
            </a:r>
            <a:r>
              <a:rPr lang="it-IT" sz="1800" dirty="0"/>
              <a:t>considerando  l’attività in presenza e tutti quei momenti che contribuiscono allo sviluppo delle competenze professionali, quali ad esempio:</a:t>
            </a:r>
          </a:p>
          <a:p>
            <a:pPr lvl="1">
              <a:buFont typeface="Courier New" panose="02070309020205020404" pitchFamily="49" charset="0"/>
              <a:buChar char="o"/>
            </a:pPr>
            <a:r>
              <a:rPr lang="it-IT" sz="1400" dirty="0">
                <a:solidFill>
                  <a:schemeClr val="bg1"/>
                </a:solidFill>
              </a:rPr>
              <a:t>formazione in presenza  e a distanza</a:t>
            </a:r>
          </a:p>
          <a:p>
            <a:pPr lvl="1">
              <a:buFont typeface="Courier New" panose="02070309020205020404" pitchFamily="49" charset="0"/>
              <a:buChar char="o"/>
            </a:pPr>
            <a:r>
              <a:rPr lang="it-IT" sz="1400" dirty="0">
                <a:solidFill>
                  <a:schemeClr val="bg1"/>
                </a:solidFill>
              </a:rPr>
              <a:t>sperimentazione didattica documentata e ricerca/azione,</a:t>
            </a:r>
          </a:p>
          <a:p>
            <a:pPr lvl="1">
              <a:buFont typeface="Courier New" panose="02070309020205020404" pitchFamily="49" charset="0"/>
              <a:buChar char="o"/>
            </a:pPr>
            <a:r>
              <a:rPr lang="it-IT" sz="1400" dirty="0">
                <a:solidFill>
                  <a:schemeClr val="bg1"/>
                </a:solidFill>
              </a:rPr>
              <a:t>lavoro in rete</a:t>
            </a:r>
          </a:p>
          <a:p>
            <a:pPr lvl="1">
              <a:buFont typeface="Courier New" panose="02070309020205020404" pitchFamily="49" charset="0"/>
              <a:buChar char="o"/>
            </a:pPr>
            <a:r>
              <a:rPr lang="it-IT" sz="1400" dirty="0">
                <a:solidFill>
                  <a:schemeClr val="bg1"/>
                </a:solidFill>
              </a:rPr>
              <a:t>approfondimento personale e collegiale</a:t>
            </a:r>
          </a:p>
          <a:p>
            <a:pPr lvl="1">
              <a:buFont typeface="Courier New" panose="02070309020205020404" pitchFamily="49" charset="0"/>
              <a:buChar char="o"/>
            </a:pPr>
            <a:r>
              <a:rPr lang="it-IT" sz="1400" dirty="0">
                <a:solidFill>
                  <a:schemeClr val="bg1"/>
                </a:solidFill>
              </a:rPr>
              <a:t>documentazione e forme di restituzione/rendicontazione, con ricaduta</a:t>
            </a:r>
          </a:p>
          <a:p>
            <a:pPr lvl="1">
              <a:buFont typeface="Courier New" panose="02070309020205020404" pitchFamily="49" charset="0"/>
              <a:buChar char="o"/>
            </a:pPr>
            <a:r>
              <a:rPr lang="it-IT" sz="1400" dirty="0">
                <a:solidFill>
                  <a:schemeClr val="bg1"/>
                </a:solidFill>
              </a:rPr>
              <a:t>Progettazione</a:t>
            </a:r>
          </a:p>
          <a:p>
            <a:pPr rtl="0"/>
            <a:r>
              <a:rPr lang="it-IT" sz="1800" dirty="0"/>
              <a:t>L’unità formativa deve essere costruita in modo che si possa riconoscere e documentare il  </a:t>
            </a:r>
            <a:r>
              <a:rPr lang="it-IT" sz="1800" b="1" dirty="0"/>
              <a:t>percorso formativo dei docenti</a:t>
            </a:r>
          </a:p>
          <a:p>
            <a:pPr marL="0" indent="0">
              <a:buNone/>
            </a:pPr>
            <a:r>
              <a:rPr lang="it-IT" sz="1800" b="1" u="sng" spc="10" dirty="0">
                <a:solidFill>
                  <a:schemeClr val="bg1"/>
                </a:solidFill>
                <a:uFill>
                  <a:solidFill>
                    <a:srgbClr val="2897E2"/>
                  </a:solidFill>
                </a:uFill>
                <a:latin typeface="Corbel"/>
                <a:cs typeface="Corbel"/>
              </a:rPr>
              <a:t>MIUR</a:t>
            </a:r>
            <a:r>
              <a:rPr lang="it-IT" sz="1800" b="1" u="sng" spc="-20" dirty="0">
                <a:solidFill>
                  <a:schemeClr val="bg1"/>
                </a:solidFill>
                <a:uFill>
                  <a:solidFill>
                    <a:srgbClr val="2897E2"/>
                  </a:solidFill>
                </a:uFill>
                <a:latin typeface="Corbel"/>
                <a:cs typeface="Corbel"/>
              </a:rPr>
              <a:t> </a:t>
            </a:r>
            <a:r>
              <a:rPr lang="it-IT" sz="1800" b="1" u="sng" spc="10" dirty="0">
                <a:solidFill>
                  <a:schemeClr val="bg1"/>
                </a:solidFill>
                <a:uFill>
                  <a:solidFill>
                    <a:srgbClr val="2897E2"/>
                  </a:solidFill>
                </a:uFill>
                <a:latin typeface="Corbel"/>
                <a:cs typeface="Corbel"/>
              </a:rPr>
              <a:t>15</a:t>
            </a:r>
            <a:r>
              <a:rPr lang="it-IT" sz="1800" b="1" u="sng" dirty="0">
                <a:solidFill>
                  <a:schemeClr val="bg1"/>
                </a:solidFill>
                <a:uFill>
                  <a:solidFill>
                    <a:srgbClr val="2897E2"/>
                  </a:solidFill>
                </a:uFill>
                <a:latin typeface="Corbel"/>
                <a:cs typeface="Corbel"/>
              </a:rPr>
              <a:t> </a:t>
            </a:r>
            <a:r>
              <a:rPr lang="it-IT" sz="1800" b="1" u="sng" spc="10" dirty="0">
                <a:solidFill>
                  <a:schemeClr val="bg1"/>
                </a:solidFill>
                <a:uFill>
                  <a:solidFill>
                    <a:srgbClr val="2897E2"/>
                  </a:solidFill>
                </a:uFill>
                <a:latin typeface="Corbel"/>
                <a:cs typeface="Corbel"/>
              </a:rPr>
              <a:t>settembre</a:t>
            </a:r>
            <a:r>
              <a:rPr lang="it-IT" sz="1800" b="1" u="sng" spc="-25" dirty="0">
                <a:solidFill>
                  <a:schemeClr val="bg1"/>
                </a:solidFill>
                <a:uFill>
                  <a:solidFill>
                    <a:srgbClr val="2897E2"/>
                  </a:solidFill>
                </a:uFill>
                <a:latin typeface="Corbel"/>
                <a:cs typeface="Corbel"/>
              </a:rPr>
              <a:t> </a:t>
            </a:r>
            <a:r>
              <a:rPr lang="it-IT" sz="1800" b="1" u="sng" dirty="0">
                <a:solidFill>
                  <a:schemeClr val="bg1"/>
                </a:solidFill>
                <a:uFill>
                  <a:solidFill>
                    <a:srgbClr val="2897E2"/>
                  </a:solidFill>
                </a:uFill>
                <a:latin typeface="Corbel"/>
                <a:cs typeface="Corbel"/>
              </a:rPr>
              <a:t>2016</a:t>
            </a:r>
            <a:endParaRPr lang="it-IT" sz="1800" b="1" dirty="0">
              <a:solidFill>
                <a:schemeClr val="bg1"/>
              </a:solidFill>
              <a:latin typeface="Corbel"/>
              <a:cs typeface="Corbel"/>
            </a:endParaRPr>
          </a:p>
          <a:p>
            <a:pPr rtl="0"/>
            <a:endParaRPr lang="it-IT" sz="1600" dirty="0"/>
          </a:p>
          <a:p>
            <a:pPr rtl="0"/>
            <a:endParaRPr lang="it-IT" dirty="0"/>
          </a:p>
        </p:txBody>
      </p:sp>
      <p:grpSp>
        <p:nvGrpSpPr>
          <p:cNvPr id="5" name="Gruppo 4">
            <a:extLst>
              <a:ext uri="{FF2B5EF4-FFF2-40B4-BE49-F238E27FC236}">
                <a16:creationId xmlns:a16="http://schemas.microsoft.com/office/drawing/2014/main" id="{1A141F7B-AE96-45F9-BC57-F7C86174910A}"/>
              </a:ext>
              <a:ext uri="{C183D7F6-B498-43B3-948B-1728B52AA6E4}">
                <adec:decorative xmlns:adec="http://schemas.microsoft.com/office/drawing/2017/decorative" val="1"/>
              </a:ext>
            </a:extLst>
          </p:cNvPr>
          <p:cNvGrpSpPr/>
          <p:nvPr/>
        </p:nvGrpSpPr>
        <p:grpSpPr>
          <a:xfrm>
            <a:off x="0" y="6086479"/>
            <a:ext cx="12192000" cy="600974"/>
            <a:chOff x="0" y="6086479"/>
            <a:chExt cx="12192000" cy="600974"/>
          </a:xfrm>
        </p:grpSpPr>
        <p:sp>
          <p:nvSpPr>
            <p:cNvPr id="14" name="Rettangolo 13">
              <a:extLst>
                <a:ext uri="{FF2B5EF4-FFF2-40B4-BE49-F238E27FC236}">
                  <a16:creationId xmlns:a16="http://schemas.microsoft.com/office/drawing/2014/main" id="{C862BC4D-BD7A-417E-A34A-59CE4D4A6AC8}"/>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16" name="Segnaposto numero diapositiva 5" descr="Numero diapositiva">
            <a:extLst>
              <a:ext uri="{FF2B5EF4-FFF2-40B4-BE49-F238E27FC236}">
                <a16:creationId xmlns:a16="http://schemas.microsoft.com/office/drawing/2014/main" id="{0FD571BD-7BCF-4777-BAD5-51B3EB30BBF7}"/>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45</a:t>
            </a:fld>
            <a:endParaRPr lang="it-IT" sz="1200">
              <a:solidFill>
                <a:schemeClr val="bg1"/>
              </a:solidFill>
            </a:endParaRPr>
          </a:p>
        </p:txBody>
      </p:sp>
    </p:spTree>
    <p:extLst>
      <p:ext uri="{BB962C8B-B14F-4D97-AF65-F5344CB8AC3E}">
        <p14:creationId xmlns:p14="http://schemas.microsoft.com/office/powerpoint/2010/main" val="76534855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0E0C7720-8FDF-BD63-849A-1EE6FE97A629}"/>
              </a:ext>
            </a:extLst>
          </p:cNvPr>
          <p:cNvGraphicFramePr>
            <a:graphicFrameLocks noChangeAspect="1"/>
          </p:cNvGraphicFramePr>
          <p:nvPr>
            <p:custDataLst>
              <p:tags r:id="rId1"/>
            </p:custDataLst>
            <p:extLst>
              <p:ext uri="{D42A27DB-BD31-4B8C-83A1-F6EECF244321}">
                <p14:modId xmlns:p14="http://schemas.microsoft.com/office/powerpoint/2010/main" val="44084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3" name="Oggetto 2" hidden="1">
                        <a:extLst>
                          <a:ext uri="{FF2B5EF4-FFF2-40B4-BE49-F238E27FC236}">
                            <a16:creationId xmlns:a16="http://schemas.microsoft.com/office/drawing/2014/main" id="{0E0C7720-8FDF-BD63-849A-1EE6FE97A62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Segnaposto immagine 8">
            <a:extLst>
              <a:ext uri="{FF2B5EF4-FFF2-40B4-BE49-F238E27FC236}">
                <a16:creationId xmlns:a16="http://schemas.microsoft.com/office/drawing/2014/main" id="{B4DB50D3-94C9-4471-8076-F037B6C11D8A}"/>
              </a:ext>
            </a:extLst>
          </p:cNvPr>
          <p:cNvPicPr>
            <a:picLocks noGrp="1" noChangeAspect="1"/>
          </p:cNvPicPr>
          <p:nvPr>
            <p:ph type="pic" sz="quarter" idx="10"/>
          </p:nvPr>
        </p:nvPicPr>
        <p:blipFill>
          <a:blip r:embed="rId6"/>
          <a:srcRect/>
          <a:stretch/>
        </p:blipFill>
        <p:spPr>
          <a:xfrm>
            <a:off x="1" y="0"/>
            <a:ext cx="12192000" cy="6858000"/>
          </a:xfrm>
        </p:spPr>
      </p:pic>
      <p:grpSp>
        <p:nvGrpSpPr>
          <p:cNvPr id="7" name="Gruppo 6">
            <a:extLst>
              <a:ext uri="{FF2B5EF4-FFF2-40B4-BE49-F238E27FC236}">
                <a16:creationId xmlns:a16="http://schemas.microsoft.com/office/drawing/2014/main" id="{F5325EDA-7343-463C-83EC-5D799E8B8195}"/>
              </a:ext>
              <a:ext uri="{C183D7F6-B498-43B3-948B-1728B52AA6E4}">
                <adec:decorative xmlns:adec="http://schemas.microsoft.com/office/drawing/2017/decorative" val="1"/>
              </a:ext>
            </a:extLst>
          </p:cNvPr>
          <p:cNvGrpSpPr/>
          <p:nvPr/>
        </p:nvGrpSpPr>
        <p:grpSpPr>
          <a:xfrm>
            <a:off x="9621170" y="0"/>
            <a:ext cx="2570831" cy="6858001"/>
            <a:chOff x="9621170" y="0"/>
            <a:chExt cx="2570831" cy="6858001"/>
          </a:xfrm>
        </p:grpSpPr>
        <p:sp>
          <p:nvSpPr>
            <p:cNvPr id="32" name="Figura a mano libera: Forma 31">
              <a:extLst>
                <a:ext uri="{FF2B5EF4-FFF2-40B4-BE49-F238E27FC236}">
                  <a16:creationId xmlns:a16="http://schemas.microsoft.com/office/drawing/2014/main" id="{25DFF88D-A516-4508-BC03-10D68E4034CF}"/>
                </a:ext>
              </a:extLst>
            </p:cNvPr>
            <p:cNvSpPr/>
            <p:nvPr/>
          </p:nvSpPr>
          <p:spPr>
            <a:xfrm>
              <a:off x="9621170" y="0"/>
              <a:ext cx="2570831" cy="6858000"/>
            </a:xfrm>
            <a:custGeom>
              <a:avLst/>
              <a:gdLst>
                <a:gd name="connsiteX0" fmla="*/ 1649197 w 2570831"/>
                <a:gd name="connsiteY0" fmla="*/ 0 h 6858000"/>
                <a:gd name="connsiteX1" fmla="*/ 2570831 w 2570831"/>
                <a:gd name="connsiteY1" fmla="*/ 0 h 6858000"/>
                <a:gd name="connsiteX2" fmla="*/ 2570831 w 2570831"/>
                <a:gd name="connsiteY2" fmla="*/ 6858000 h 6858000"/>
                <a:gd name="connsiteX3" fmla="*/ 0 w 25708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570831" h="6858000">
                  <a:moveTo>
                    <a:pt x="1649197" y="0"/>
                  </a:moveTo>
                  <a:lnTo>
                    <a:pt x="2570831" y="0"/>
                  </a:lnTo>
                  <a:lnTo>
                    <a:pt x="2570831" y="6858000"/>
                  </a:lnTo>
                  <a:lnTo>
                    <a:pt x="0" y="6858000"/>
                  </a:lnTo>
                  <a:close/>
                </a:path>
              </a:pathLst>
            </a:custGeom>
            <a:solidFill>
              <a:schemeClr val="bg1">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30" name="Figura a mano libera: Forma 29">
              <a:extLst>
                <a:ext uri="{FF2B5EF4-FFF2-40B4-BE49-F238E27FC236}">
                  <a16:creationId xmlns:a16="http://schemas.microsoft.com/office/drawing/2014/main" id="{F990A05A-2B0C-4EA2-8A33-D5A7D8C1BC4F}"/>
                </a:ext>
              </a:extLst>
            </p:cNvPr>
            <p:cNvSpPr/>
            <p:nvPr/>
          </p:nvSpPr>
          <p:spPr>
            <a:xfrm>
              <a:off x="9754598" y="0"/>
              <a:ext cx="2437402" cy="6858000"/>
            </a:xfrm>
            <a:custGeom>
              <a:avLst/>
              <a:gdLst>
                <a:gd name="connsiteX0" fmla="*/ 1649197 w 2437402"/>
                <a:gd name="connsiteY0" fmla="*/ 0 h 6858000"/>
                <a:gd name="connsiteX1" fmla="*/ 2437402 w 2437402"/>
                <a:gd name="connsiteY1" fmla="*/ 0 h 6858000"/>
                <a:gd name="connsiteX2" fmla="*/ 2437402 w 2437402"/>
                <a:gd name="connsiteY2" fmla="*/ 6858000 h 6858000"/>
                <a:gd name="connsiteX3" fmla="*/ 0 w 243740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437402" h="6858000">
                  <a:moveTo>
                    <a:pt x="1649197" y="0"/>
                  </a:moveTo>
                  <a:lnTo>
                    <a:pt x="2437402" y="0"/>
                  </a:lnTo>
                  <a:lnTo>
                    <a:pt x="2437402" y="6858000"/>
                  </a:lnTo>
                  <a:lnTo>
                    <a:pt x="0" y="6858000"/>
                  </a:lnTo>
                  <a:close/>
                </a:path>
              </a:pathLst>
            </a:custGeom>
            <a:solidFill>
              <a:schemeClr val="bg1">
                <a:alpha val="3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28" name="Figura a mano libera: Forma 27">
              <a:extLst>
                <a:ext uri="{FF2B5EF4-FFF2-40B4-BE49-F238E27FC236}">
                  <a16:creationId xmlns:a16="http://schemas.microsoft.com/office/drawing/2014/main" id="{79BF84DA-56CC-4319-9B18-B6303F93EF5A}"/>
                </a:ext>
              </a:extLst>
            </p:cNvPr>
            <p:cNvSpPr/>
            <p:nvPr/>
          </p:nvSpPr>
          <p:spPr>
            <a:xfrm>
              <a:off x="10011320" y="0"/>
              <a:ext cx="2180680" cy="6858000"/>
            </a:xfrm>
            <a:custGeom>
              <a:avLst/>
              <a:gdLst>
                <a:gd name="connsiteX0" fmla="*/ 1649197 w 2180680"/>
                <a:gd name="connsiteY0" fmla="*/ 0 h 6858000"/>
                <a:gd name="connsiteX1" fmla="*/ 2180680 w 2180680"/>
                <a:gd name="connsiteY1" fmla="*/ 0 h 6858000"/>
                <a:gd name="connsiteX2" fmla="*/ 2180680 w 2180680"/>
                <a:gd name="connsiteY2" fmla="*/ 6858000 h 6858000"/>
                <a:gd name="connsiteX3" fmla="*/ 0 w 218068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2180680" h="6858000">
                  <a:moveTo>
                    <a:pt x="1649197" y="0"/>
                  </a:moveTo>
                  <a:lnTo>
                    <a:pt x="2180680" y="0"/>
                  </a:lnTo>
                  <a:lnTo>
                    <a:pt x="2180680" y="6858000"/>
                  </a:lnTo>
                  <a:lnTo>
                    <a:pt x="0" y="6858000"/>
                  </a:lnTo>
                  <a:close/>
                </a:path>
              </a:pathLst>
            </a:cu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26" name="Figura a mano libera: Forma 25">
              <a:extLst>
                <a:ext uri="{FF2B5EF4-FFF2-40B4-BE49-F238E27FC236}">
                  <a16:creationId xmlns:a16="http://schemas.microsoft.com/office/drawing/2014/main" id="{3FE4855B-D7C3-4EA7-8050-5BDDB9E3A78A}"/>
                </a:ext>
              </a:extLst>
            </p:cNvPr>
            <p:cNvSpPr/>
            <p:nvPr/>
          </p:nvSpPr>
          <p:spPr>
            <a:xfrm>
              <a:off x="10544156" y="5626"/>
              <a:ext cx="1647844" cy="6852374"/>
            </a:xfrm>
            <a:custGeom>
              <a:avLst/>
              <a:gdLst>
                <a:gd name="connsiteX0" fmla="*/ 1647844 w 1647844"/>
                <a:gd name="connsiteY0" fmla="*/ 0 h 6852374"/>
                <a:gd name="connsiteX1" fmla="*/ 1647844 w 1647844"/>
                <a:gd name="connsiteY1" fmla="*/ 6852374 h 6852374"/>
                <a:gd name="connsiteX2" fmla="*/ 0 w 1647844"/>
                <a:gd name="connsiteY2" fmla="*/ 6852374 h 6852374"/>
              </a:gdLst>
              <a:ahLst/>
              <a:cxnLst>
                <a:cxn ang="0">
                  <a:pos x="connsiteX0" y="connsiteY0"/>
                </a:cxn>
                <a:cxn ang="0">
                  <a:pos x="connsiteX1" y="connsiteY1"/>
                </a:cxn>
                <a:cxn ang="0">
                  <a:pos x="connsiteX2" y="connsiteY2"/>
                </a:cxn>
              </a:cxnLst>
              <a:rect l="l" t="t" r="r" b="b"/>
              <a:pathLst>
                <a:path w="1647844" h="6852374">
                  <a:moveTo>
                    <a:pt x="1647844" y="0"/>
                  </a:moveTo>
                  <a:lnTo>
                    <a:pt x="1647844" y="6852374"/>
                  </a:lnTo>
                  <a:lnTo>
                    <a:pt x="0" y="6852374"/>
                  </a:lnTo>
                  <a:close/>
                </a:path>
              </a:pathLst>
            </a:cu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24" name="Figura a mano libera: Forma 23">
              <a:extLst>
                <a:ext uri="{FF2B5EF4-FFF2-40B4-BE49-F238E27FC236}">
                  <a16:creationId xmlns:a16="http://schemas.microsoft.com/office/drawing/2014/main" id="{EC066EC5-6C2C-4006-B87D-E6C5CFDEF302}"/>
                </a:ext>
              </a:extLst>
            </p:cNvPr>
            <p:cNvSpPr/>
            <p:nvPr/>
          </p:nvSpPr>
          <p:spPr>
            <a:xfrm>
              <a:off x="10803086" y="1082358"/>
              <a:ext cx="1388914" cy="5775643"/>
            </a:xfrm>
            <a:custGeom>
              <a:avLst/>
              <a:gdLst>
                <a:gd name="connsiteX0" fmla="*/ 1388914 w 1388914"/>
                <a:gd name="connsiteY0" fmla="*/ 0 h 5775643"/>
                <a:gd name="connsiteX1" fmla="*/ 1388914 w 1388914"/>
                <a:gd name="connsiteY1" fmla="*/ 5775643 h 5775643"/>
                <a:gd name="connsiteX2" fmla="*/ 0 w 1388914"/>
                <a:gd name="connsiteY2" fmla="*/ 5775643 h 5775643"/>
              </a:gdLst>
              <a:ahLst/>
              <a:cxnLst>
                <a:cxn ang="0">
                  <a:pos x="connsiteX0" y="connsiteY0"/>
                </a:cxn>
                <a:cxn ang="0">
                  <a:pos x="connsiteX1" y="connsiteY1"/>
                </a:cxn>
                <a:cxn ang="0">
                  <a:pos x="connsiteX2" y="connsiteY2"/>
                </a:cxn>
              </a:cxnLst>
              <a:rect l="l" t="t" r="r" b="b"/>
              <a:pathLst>
                <a:path w="1388914" h="5775643">
                  <a:moveTo>
                    <a:pt x="1388914" y="0"/>
                  </a:moveTo>
                  <a:lnTo>
                    <a:pt x="1388914" y="5775643"/>
                  </a:lnTo>
                  <a:lnTo>
                    <a:pt x="0" y="577564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sz="3600" dirty="0"/>
              <a:t>Unità formative. Aspetti quantitativi</a:t>
            </a:r>
          </a:p>
        </p:txBody>
      </p:sp>
      <p:pic>
        <p:nvPicPr>
          <p:cNvPr id="40" name="Segnaposto contenuto 79" descr="Libro aperto">
            <a:extLst>
              <a:ext uri="{FF2B5EF4-FFF2-40B4-BE49-F238E27FC236}">
                <a16:creationId xmlns:a16="http://schemas.microsoft.com/office/drawing/2014/main" id="{C997398D-3BA0-47F4-93CE-55576CE45E21}"/>
              </a:ext>
            </a:extLst>
          </p:cNvPr>
          <p:cNvPicPr>
            <a:picLocks noGrp="1" noChangeAspect="1"/>
          </p:cNvPicPr>
          <p:nvPr>
            <p:ph sz="quarter" idx="13"/>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1204" y="1331097"/>
            <a:ext cx="548640" cy="548640"/>
          </a:xfrm>
        </p:spPr>
      </p:pic>
      <p:sp>
        <p:nvSpPr>
          <p:cNvPr id="31" name="Segnaposto testo 30" descr="Contenuto diapositiva">
            <a:extLst>
              <a:ext uri="{FF2B5EF4-FFF2-40B4-BE49-F238E27FC236}">
                <a16:creationId xmlns:a16="http://schemas.microsoft.com/office/drawing/2014/main" id="{A7DE1A1C-1BA0-439B-99B1-C80C5806DEFB}"/>
              </a:ext>
            </a:extLst>
          </p:cNvPr>
          <p:cNvSpPr>
            <a:spLocks noGrp="1"/>
          </p:cNvSpPr>
          <p:nvPr>
            <p:ph type="body" sz="quarter" idx="11"/>
          </p:nvPr>
        </p:nvSpPr>
        <p:spPr>
          <a:xfrm>
            <a:off x="869603" y="2598488"/>
            <a:ext cx="6214907" cy="2547220"/>
          </a:xfrm>
          <a:solidFill>
            <a:schemeClr val="tx1">
              <a:alpha val="43000"/>
            </a:schemeClr>
          </a:solidFill>
        </p:spPr>
        <p:txBody>
          <a:bodyPr rtlCol="0"/>
          <a:lstStyle/>
          <a:p>
            <a:pPr marL="0" indent="0" rtl="0">
              <a:buNone/>
            </a:pPr>
            <a:r>
              <a:rPr lang="it-IT" sz="1800" b="1" dirty="0"/>
              <a:t>Crediti formativi Universitari (CFU): i corsi di studio sono strutturati in crediti. Al Credito Formativo Universitario (CFU) corrispondono  normalmente 25 ore di lavoro dello studente, ivi compreso lo studio individuale</a:t>
            </a:r>
          </a:p>
          <a:p>
            <a:pPr marL="0" indent="0" rtl="0">
              <a:buNone/>
            </a:pPr>
            <a:endParaRPr lang="it-IT" sz="1800" b="1" dirty="0"/>
          </a:p>
          <a:p>
            <a:pPr marL="0" indent="0" rtl="0">
              <a:buNone/>
            </a:pPr>
            <a:r>
              <a:rPr lang="it-IT" sz="1800" b="1" dirty="0"/>
              <a:t>La quantità media di lavoro accademico svolto in un anno da uno studente a tempo pieno è convenzionalmente fissata a 60CFU. I crediti formativi universitari sono equivalenti ai crediti ECTS.</a:t>
            </a:r>
          </a:p>
          <a:p>
            <a:pPr rtl="0"/>
            <a:endParaRPr lang="it-IT" dirty="0"/>
          </a:p>
        </p:txBody>
      </p:sp>
      <p:grpSp>
        <p:nvGrpSpPr>
          <p:cNvPr id="5" name="Gruppo 4">
            <a:extLst>
              <a:ext uri="{FF2B5EF4-FFF2-40B4-BE49-F238E27FC236}">
                <a16:creationId xmlns:a16="http://schemas.microsoft.com/office/drawing/2014/main" id="{1A141F7B-AE96-45F9-BC57-F7C86174910A}"/>
              </a:ext>
              <a:ext uri="{C183D7F6-B498-43B3-948B-1728B52AA6E4}">
                <adec:decorative xmlns:adec="http://schemas.microsoft.com/office/drawing/2017/decorative" val="1"/>
              </a:ext>
            </a:extLst>
          </p:cNvPr>
          <p:cNvGrpSpPr/>
          <p:nvPr/>
        </p:nvGrpSpPr>
        <p:grpSpPr>
          <a:xfrm>
            <a:off x="0" y="6086479"/>
            <a:ext cx="12192000" cy="600974"/>
            <a:chOff x="0" y="6086479"/>
            <a:chExt cx="12192000" cy="600974"/>
          </a:xfrm>
        </p:grpSpPr>
        <p:sp>
          <p:nvSpPr>
            <p:cNvPr id="14" name="Rettangolo 13">
              <a:extLst>
                <a:ext uri="{FF2B5EF4-FFF2-40B4-BE49-F238E27FC236}">
                  <a16:creationId xmlns:a16="http://schemas.microsoft.com/office/drawing/2014/main" id="{C862BC4D-BD7A-417E-A34A-59CE4D4A6AC8}"/>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16" name="Segnaposto numero diapositiva 5" descr="Numero diapositiva">
            <a:extLst>
              <a:ext uri="{FF2B5EF4-FFF2-40B4-BE49-F238E27FC236}">
                <a16:creationId xmlns:a16="http://schemas.microsoft.com/office/drawing/2014/main" id="{0FD571BD-7BCF-4777-BAD5-51B3EB30BBF7}"/>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46</a:t>
            </a:fld>
            <a:endParaRPr lang="it-IT" sz="1200">
              <a:solidFill>
                <a:schemeClr val="bg1"/>
              </a:solidFill>
            </a:endParaRPr>
          </a:p>
        </p:txBody>
      </p:sp>
      <p:sp>
        <p:nvSpPr>
          <p:cNvPr id="10" name="Segnaposto testo 30" descr="Contenuto diapositiva">
            <a:extLst>
              <a:ext uri="{FF2B5EF4-FFF2-40B4-BE49-F238E27FC236}">
                <a16:creationId xmlns:a16="http://schemas.microsoft.com/office/drawing/2014/main" id="{4B60B636-C658-3196-9132-DEE9C6132D58}"/>
              </a:ext>
            </a:extLst>
          </p:cNvPr>
          <p:cNvSpPr txBox="1">
            <a:spLocks/>
          </p:cNvSpPr>
          <p:nvPr/>
        </p:nvSpPr>
        <p:spPr>
          <a:xfrm>
            <a:off x="849952" y="1483498"/>
            <a:ext cx="6214907" cy="462378"/>
          </a:xfrm>
          <a:prstGeom prst="rect">
            <a:avLst/>
          </a:prstGeom>
          <a:noFill/>
        </p:spPr>
        <p:txBody>
          <a:bodyPr vert="horz" wrap="square" lIns="0" tIns="45720" rIns="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1400" kern="1200" dirty="0" smtClean="0">
                <a:solidFill>
                  <a:schemeClr val="bg1">
                    <a:lumMod val="95000"/>
                  </a:schemeClr>
                </a:solidFill>
                <a:latin typeface="+mn-lt"/>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it-IT" dirty="0"/>
              <a:t>Per la definizione delle  Unità Formative, in fase di prima  definizione può essere utile fare riferimento  a standard esistenti,  come il sistema dei  CFU universitari e  professionali.</a:t>
            </a:r>
          </a:p>
          <a:p>
            <a:endParaRPr lang="it-IT" dirty="0"/>
          </a:p>
        </p:txBody>
      </p:sp>
    </p:spTree>
    <p:extLst>
      <p:ext uri="{BB962C8B-B14F-4D97-AF65-F5344CB8AC3E}">
        <p14:creationId xmlns:p14="http://schemas.microsoft.com/office/powerpoint/2010/main" val="53136353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BC6C4855-96E2-3916-09E5-48892EB9ABDF}"/>
              </a:ext>
            </a:extLst>
          </p:cNvPr>
          <p:cNvGraphicFramePr>
            <a:graphicFrameLocks noChangeAspect="1"/>
          </p:cNvGraphicFramePr>
          <p:nvPr>
            <p:custDataLst>
              <p:tags r:id="rId1"/>
            </p:custDataLst>
            <p:extLst>
              <p:ext uri="{D42A27DB-BD31-4B8C-83A1-F6EECF244321}">
                <p14:modId xmlns:p14="http://schemas.microsoft.com/office/powerpoint/2010/main" val="2317202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descr="vista dall'alto di un ragazzo seduto con il suo portatile">
            <a:extLst>
              <a:ext uri="{FF2B5EF4-FFF2-40B4-BE49-F238E27FC236}">
                <a16:creationId xmlns:a16="http://schemas.microsoft.com/office/drawing/2014/main" id="{3C2A7DCB-B005-424A-8446-ACA533D0BC8B}"/>
              </a:ext>
            </a:extLst>
          </p:cNvPr>
          <p:cNvPicPr>
            <a:picLocks noGrp="1" noChangeAspect="1"/>
          </p:cNvPicPr>
          <p:nvPr>
            <p:ph type="pic" sz="quarter" idx="10"/>
          </p:nvPr>
        </p:nvPicPr>
        <p:blipFill>
          <a:blip r:embed="rId6" cstate="email">
            <a:extLst>
              <a:ext uri="{28A0092B-C50C-407E-A947-70E740481C1C}">
                <a14:useLocalDpi xmlns:a14="http://schemas.microsoft.com/office/drawing/2010/main"/>
              </a:ext>
            </a:extLst>
          </a:blip>
          <a:srcRect/>
          <a:stretch>
            <a:fillRect/>
          </a:stretch>
        </p:blipFill>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595847"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dirty="0"/>
              <a:t>Esempio di Struttura dell’Unità formativa</a:t>
            </a:r>
          </a:p>
        </p:txBody>
      </p:sp>
      <p:pic>
        <p:nvPicPr>
          <p:cNvPr id="35" name="Segnaposto contenuto 34" descr="Libro aperto">
            <a:extLst>
              <a:ext uri="{FF2B5EF4-FFF2-40B4-BE49-F238E27FC236}">
                <a16:creationId xmlns:a16="http://schemas.microsoft.com/office/drawing/2014/main" id="{56174A3F-A7B3-40BE-88BD-1796890E4B44}"/>
              </a:ext>
            </a:extLst>
          </p:cNvPr>
          <p:cNvPicPr>
            <a:picLocks noGrp="1" noChangeAspect="1"/>
          </p:cNvPicPr>
          <p:nvPr>
            <p:ph sz="quarter" idx="13"/>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10267" y="1006211"/>
            <a:ext cx="548640" cy="548640"/>
          </a:xfrm>
        </p:spPr>
      </p:pic>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a:xfrm>
            <a:off x="633186" y="1657717"/>
            <a:ext cx="2834640" cy="3368675"/>
          </a:xfrm>
        </p:spPr>
        <p:txBody>
          <a:bodyPr rtlCol="0"/>
          <a:lstStyle/>
          <a:p>
            <a:pPr marL="12700">
              <a:lnSpc>
                <a:spcPct val="100000"/>
              </a:lnSpc>
              <a:spcBef>
                <a:spcPts val="130"/>
              </a:spcBef>
            </a:pPr>
            <a:r>
              <a:rPr lang="it-IT" sz="1400" spc="15" dirty="0">
                <a:latin typeface="Corbel"/>
                <a:cs typeface="Corbel"/>
              </a:rPr>
              <a:t>Nota</a:t>
            </a:r>
            <a:r>
              <a:rPr lang="it-IT" sz="1400" spc="-10" dirty="0">
                <a:latin typeface="Corbel"/>
                <a:cs typeface="Corbel"/>
              </a:rPr>
              <a:t> </a:t>
            </a:r>
            <a:r>
              <a:rPr lang="it-IT" sz="1400" spc="10" dirty="0">
                <a:latin typeface="Corbel"/>
                <a:cs typeface="Corbel"/>
              </a:rPr>
              <a:t>MIUR</a:t>
            </a:r>
            <a:r>
              <a:rPr lang="it-IT" sz="1400" spc="-20" dirty="0">
                <a:latin typeface="Corbel"/>
                <a:cs typeface="Corbel"/>
              </a:rPr>
              <a:t> </a:t>
            </a:r>
            <a:r>
              <a:rPr lang="it-IT" sz="1400" spc="15" dirty="0">
                <a:latin typeface="Corbel"/>
                <a:cs typeface="Corbel"/>
              </a:rPr>
              <a:t>35</a:t>
            </a:r>
            <a:r>
              <a:rPr lang="it-IT" sz="1400" spc="-10" dirty="0">
                <a:latin typeface="Corbel"/>
                <a:cs typeface="Corbel"/>
              </a:rPr>
              <a:t> </a:t>
            </a:r>
            <a:r>
              <a:rPr lang="it-IT" sz="1400" spc="10" dirty="0">
                <a:latin typeface="Corbel"/>
                <a:cs typeface="Corbel"/>
              </a:rPr>
              <a:t>del</a:t>
            </a:r>
            <a:r>
              <a:rPr lang="it-IT" sz="1400" spc="-15" dirty="0">
                <a:latin typeface="Corbel"/>
                <a:cs typeface="Corbel"/>
              </a:rPr>
              <a:t> </a:t>
            </a:r>
            <a:r>
              <a:rPr lang="it-IT" sz="1400" spc="10" dirty="0">
                <a:latin typeface="Corbel"/>
                <a:cs typeface="Corbel"/>
              </a:rPr>
              <a:t>7</a:t>
            </a:r>
            <a:r>
              <a:rPr lang="it-IT" sz="1400" spc="-5" dirty="0">
                <a:latin typeface="Corbel"/>
                <a:cs typeface="Corbel"/>
              </a:rPr>
              <a:t> </a:t>
            </a:r>
            <a:r>
              <a:rPr lang="it-IT" sz="1400" spc="15" dirty="0">
                <a:latin typeface="Corbel"/>
                <a:cs typeface="Corbel"/>
              </a:rPr>
              <a:t>gennaio</a:t>
            </a:r>
            <a:r>
              <a:rPr lang="it-IT" sz="1400" spc="-45" dirty="0">
                <a:latin typeface="Corbel"/>
                <a:cs typeface="Corbel"/>
              </a:rPr>
              <a:t> </a:t>
            </a:r>
            <a:r>
              <a:rPr lang="it-IT" sz="1400" dirty="0">
                <a:latin typeface="Corbel"/>
                <a:cs typeface="Corbel"/>
              </a:rPr>
              <a:t>2016</a:t>
            </a:r>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44" name="Segnaposto numero diapositiva 5" descr="Numero diapositiva">
            <a:extLst>
              <a:ext uri="{FF2B5EF4-FFF2-40B4-BE49-F238E27FC236}">
                <a16:creationId xmlns:a16="http://schemas.microsoft.com/office/drawing/2014/main" id="{11457662-C1A5-4B93-8E30-88025E27C462}"/>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47</a:t>
            </a:fld>
            <a:endParaRPr lang="it-IT" sz="1200">
              <a:solidFill>
                <a:schemeClr val="bg1"/>
              </a:solidFill>
            </a:endParaRPr>
          </a:p>
        </p:txBody>
      </p:sp>
      <p:graphicFrame>
        <p:nvGraphicFramePr>
          <p:cNvPr id="21" name="Tabella 20">
            <a:extLst>
              <a:ext uri="{FF2B5EF4-FFF2-40B4-BE49-F238E27FC236}">
                <a16:creationId xmlns:a16="http://schemas.microsoft.com/office/drawing/2014/main" id="{F5868556-72C9-4A22-F766-68572BABF6C9}"/>
              </a:ext>
            </a:extLst>
          </p:cNvPr>
          <p:cNvGraphicFramePr>
            <a:graphicFrameLocks noGrp="1"/>
          </p:cNvGraphicFramePr>
          <p:nvPr>
            <p:extLst>
              <p:ext uri="{D42A27DB-BD31-4B8C-83A1-F6EECF244321}">
                <p14:modId xmlns:p14="http://schemas.microsoft.com/office/powerpoint/2010/main" val="1560137638"/>
              </p:ext>
            </p:extLst>
          </p:nvPr>
        </p:nvGraphicFramePr>
        <p:xfrm>
          <a:off x="610267" y="2203724"/>
          <a:ext cx="8025595" cy="2450551"/>
        </p:xfrm>
        <a:graphic>
          <a:graphicData uri="http://schemas.openxmlformats.org/drawingml/2006/table">
            <a:tbl>
              <a:tblPr firstRow="1" bandRow="1">
                <a:tableStyleId>{E8B1032C-EA38-4F05-BA0D-38AFFFC7BED3}</a:tableStyleId>
              </a:tblPr>
              <a:tblGrid>
                <a:gridCol w="1605119">
                  <a:extLst>
                    <a:ext uri="{9D8B030D-6E8A-4147-A177-3AD203B41FA5}">
                      <a16:colId xmlns:a16="http://schemas.microsoft.com/office/drawing/2014/main" val="1851194403"/>
                    </a:ext>
                  </a:extLst>
                </a:gridCol>
                <a:gridCol w="1957221">
                  <a:extLst>
                    <a:ext uri="{9D8B030D-6E8A-4147-A177-3AD203B41FA5}">
                      <a16:colId xmlns:a16="http://schemas.microsoft.com/office/drawing/2014/main" val="326409999"/>
                    </a:ext>
                  </a:extLst>
                </a:gridCol>
                <a:gridCol w="1902372">
                  <a:extLst>
                    <a:ext uri="{9D8B030D-6E8A-4147-A177-3AD203B41FA5}">
                      <a16:colId xmlns:a16="http://schemas.microsoft.com/office/drawing/2014/main" val="2184518545"/>
                    </a:ext>
                  </a:extLst>
                </a:gridCol>
                <a:gridCol w="1439918">
                  <a:extLst>
                    <a:ext uri="{9D8B030D-6E8A-4147-A177-3AD203B41FA5}">
                      <a16:colId xmlns:a16="http://schemas.microsoft.com/office/drawing/2014/main" val="1997971281"/>
                    </a:ext>
                  </a:extLst>
                </a:gridCol>
                <a:gridCol w="1120965">
                  <a:extLst>
                    <a:ext uri="{9D8B030D-6E8A-4147-A177-3AD203B41FA5}">
                      <a16:colId xmlns:a16="http://schemas.microsoft.com/office/drawing/2014/main" val="3218837446"/>
                    </a:ext>
                  </a:extLst>
                </a:gridCol>
              </a:tblGrid>
              <a:tr h="1978218">
                <a:tc>
                  <a:txBody>
                    <a:bodyPr/>
                    <a:lstStyle/>
                    <a:p>
                      <a:pPr algn="ctr" rtl="0"/>
                      <a:r>
                        <a:rPr lang="it-IT" noProof="0" dirty="0">
                          <a:solidFill>
                            <a:schemeClr val="bg1"/>
                          </a:solidFill>
                          <a:latin typeface="+mj-lt"/>
                        </a:rPr>
                        <a:t>Lezioni in presenza e/o attività online</a:t>
                      </a:r>
                      <a:endParaRPr lang="it-IT" b="1" noProof="0" dirty="0">
                        <a:solidFill>
                          <a:schemeClr val="bg1"/>
                        </a:solidFill>
                        <a:latin typeface="+mj-lt"/>
                      </a:endParaRPr>
                    </a:p>
                  </a:txBody>
                  <a:tcPr anchor="ctr">
                    <a:solidFill>
                      <a:schemeClr val="accent2"/>
                    </a:solidFill>
                  </a:tcPr>
                </a:tc>
                <a:tc>
                  <a:txBody>
                    <a:bodyPr/>
                    <a:lstStyle/>
                    <a:p>
                      <a:pPr algn="ctr" rtl="0"/>
                      <a:r>
                        <a:rPr lang="it-IT" b="1" noProof="0" dirty="0">
                          <a:solidFill>
                            <a:schemeClr val="bg1"/>
                          </a:solidFill>
                          <a:latin typeface="+mj-lt"/>
                        </a:rPr>
                        <a:t>Attività di ricerca, di laboratorio, di sperimentazione</a:t>
                      </a:r>
                    </a:p>
                  </a:txBody>
                  <a:tcPr anchor="ctr">
                    <a:solidFill>
                      <a:schemeClr val="accent2"/>
                    </a:solidFill>
                  </a:tcPr>
                </a:tc>
                <a:tc>
                  <a:txBody>
                    <a:bodyPr/>
                    <a:lstStyle/>
                    <a:p>
                      <a:pPr algn="ctr" rtl="0"/>
                      <a:r>
                        <a:rPr lang="it-IT" b="1" noProof="0" dirty="0">
                          <a:solidFill>
                            <a:schemeClr val="bg1"/>
                          </a:solidFill>
                          <a:latin typeface="+mj-lt"/>
                        </a:rPr>
                        <a:t>Produzione Documentazione Diffusione materiali</a:t>
                      </a:r>
                    </a:p>
                  </a:txBody>
                  <a:tcPr anchor="ctr">
                    <a:solidFill>
                      <a:schemeClr val="accent2"/>
                    </a:solidFill>
                  </a:tcPr>
                </a:tc>
                <a:tc>
                  <a:txBody>
                    <a:bodyPr/>
                    <a:lstStyle/>
                    <a:p>
                      <a:pPr algn="ctr" rtl="0"/>
                      <a:r>
                        <a:rPr lang="it-IT" b="1" noProof="0" dirty="0">
                          <a:solidFill>
                            <a:schemeClr val="bg1"/>
                          </a:solidFill>
                          <a:latin typeface="+mj-lt"/>
                        </a:rPr>
                        <a:t>Verifica Validazione</a:t>
                      </a:r>
                    </a:p>
                  </a:txBody>
                  <a:tcPr anchor="ctr">
                    <a:solidFill>
                      <a:schemeClr val="accent2"/>
                    </a:solidFill>
                  </a:tcPr>
                </a:tc>
                <a:tc>
                  <a:txBody>
                    <a:bodyPr/>
                    <a:lstStyle/>
                    <a:p>
                      <a:pPr algn="ctr" rtl="0"/>
                      <a:r>
                        <a:rPr lang="it-IT" b="1" noProof="0" dirty="0">
                          <a:solidFill>
                            <a:schemeClr val="bg1"/>
                          </a:solidFill>
                          <a:latin typeface="+mj-lt"/>
                        </a:rPr>
                        <a:t>Totale</a:t>
                      </a:r>
                    </a:p>
                  </a:txBody>
                  <a:tcPr anchor="ctr">
                    <a:solidFill>
                      <a:schemeClr val="accent2"/>
                    </a:solidFill>
                  </a:tcPr>
                </a:tc>
                <a:extLst>
                  <a:ext uri="{0D108BD9-81ED-4DB2-BD59-A6C34878D82A}">
                    <a16:rowId xmlns:a16="http://schemas.microsoft.com/office/drawing/2014/main" val="4265093295"/>
                  </a:ext>
                </a:extLst>
              </a:tr>
              <a:tr h="472333">
                <a:tc>
                  <a:txBody>
                    <a:bodyPr/>
                    <a:lstStyle/>
                    <a:p>
                      <a:pPr algn="ctr" rtl="0"/>
                      <a:r>
                        <a:rPr lang="it-IT" sz="2000" b="1" noProof="0" dirty="0"/>
                        <a:t>12 ore</a:t>
                      </a:r>
                    </a:p>
                  </a:txBody>
                  <a:tcPr/>
                </a:tc>
                <a:tc>
                  <a:txBody>
                    <a:bodyPr/>
                    <a:lstStyle/>
                    <a:p>
                      <a:pPr algn="ctr" rtl="0"/>
                      <a:r>
                        <a:rPr lang="it-IT" sz="2000" b="1" noProof="0" dirty="0"/>
                        <a:t>6 ore</a:t>
                      </a:r>
                    </a:p>
                  </a:txBody>
                  <a:tcPr/>
                </a:tc>
                <a:tc gridSpan="2">
                  <a:txBody>
                    <a:bodyPr/>
                    <a:lstStyle/>
                    <a:p>
                      <a:pPr algn="ctr" rtl="0"/>
                      <a:r>
                        <a:rPr lang="it-IT" sz="2000" b="1" noProof="0" dirty="0"/>
                        <a:t>7 ore</a:t>
                      </a:r>
                    </a:p>
                  </a:txBody>
                  <a:tcPr/>
                </a:tc>
                <a:tc hMerge="1">
                  <a:txBody>
                    <a:bodyPr/>
                    <a:lstStyle/>
                    <a:p>
                      <a:pPr algn="ctr" rtl="0"/>
                      <a:endParaRPr lang="it-IT" sz="2000" b="1" noProof="0" dirty="0"/>
                    </a:p>
                  </a:txBody>
                  <a:tcPr/>
                </a:tc>
                <a:tc>
                  <a:txBody>
                    <a:bodyPr/>
                    <a:lstStyle/>
                    <a:p>
                      <a:pPr algn="ctr" rtl="0"/>
                      <a:r>
                        <a:rPr lang="it-IT" sz="2000" b="1" noProof="0" dirty="0"/>
                        <a:t>25 ore</a:t>
                      </a:r>
                    </a:p>
                  </a:txBody>
                  <a:tcPr/>
                </a:tc>
                <a:extLst>
                  <a:ext uri="{0D108BD9-81ED-4DB2-BD59-A6C34878D82A}">
                    <a16:rowId xmlns:a16="http://schemas.microsoft.com/office/drawing/2014/main" val="2361821215"/>
                  </a:ext>
                </a:extLst>
              </a:tr>
            </a:tbl>
          </a:graphicData>
        </a:graphic>
      </p:graphicFrame>
      <p:pic>
        <p:nvPicPr>
          <p:cNvPr id="26" name="Elemento grafico 25" descr="Aula contorno">
            <a:extLst>
              <a:ext uri="{FF2B5EF4-FFF2-40B4-BE49-F238E27FC236}">
                <a16:creationId xmlns:a16="http://schemas.microsoft.com/office/drawing/2014/main" id="{E1A34F46-846A-BE56-C4F6-706C2D0B27E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5349" y="4937389"/>
            <a:ext cx="914400" cy="914400"/>
          </a:xfrm>
          <a:prstGeom prst="rect">
            <a:avLst/>
          </a:prstGeom>
        </p:spPr>
      </p:pic>
      <p:pic>
        <p:nvPicPr>
          <p:cNvPr id="28" name="Elemento grafico 27" descr="Matraccio contorno">
            <a:extLst>
              <a:ext uri="{FF2B5EF4-FFF2-40B4-BE49-F238E27FC236}">
                <a16:creationId xmlns:a16="http://schemas.microsoft.com/office/drawing/2014/main" id="{4B1FF2A8-BFC6-9377-9E8A-1F4A8DEA61F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652919" y="4914529"/>
            <a:ext cx="914400" cy="914400"/>
          </a:xfrm>
          <a:prstGeom prst="rect">
            <a:avLst/>
          </a:prstGeom>
        </p:spPr>
      </p:pic>
      <p:pic>
        <p:nvPicPr>
          <p:cNvPr id="30" name="Elemento grafico 29" descr="Racconto contorno">
            <a:extLst>
              <a:ext uri="{FF2B5EF4-FFF2-40B4-BE49-F238E27FC236}">
                <a16:creationId xmlns:a16="http://schemas.microsoft.com/office/drawing/2014/main" id="{39AA3D0A-04F8-87A9-CB70-5A6D5511211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694775" y="4937389"/>
            <a:ext cx="914400" cy="914400"/>
          </a:xfrm>
          <a:prstGeom prst="rect">
            <a:avLst/>
          </a:prstGeom>
        </p:spPr>
      </p:pic>
      <p:pic>
        <p:nvPicPr>
          <p:cNvPr id="32" name="Elemento grafico 31" descr="Lente di ingrandimento contorno">
            <a:extLst>
              <a:ext uri="{FF2B5EF4-FFF2-40B4-BE49-F238E27FC236}">
                <a16:creationId xmlns:a16="http://schemas.microsoft.com/office/drawing/2014/main" id="{B88B10B6-07C2-7ECF-D4AA-9EEE64E09193}"/>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478418" y="4937389"/>
            <a:ext cx="914400" cy="914400"/>
          </a:xfrm>
          <a:prstGeom prst="rect">
            <a:avLst/>
          </a:prstGeom>
        </p:spPr>
      </p:pic>
      <p:sp>
        <p:nvSpPr>
          <p:cNvPr id="2" name="Sottotitolo 2">
            <a:extLst>
              <a:ext uri="{FF2B5EF4-FFF2-40B4-BE49-F238E27FC236}">
                <a16:creationId xmlns:a16="http://schemas.microsoft.com/office/drawing/2014/main" id="{D99287ED-D374-6BC2-0C7E-FECD57350868}"/>
              </a:ext>
            </a:extLst>
          </p:cNvPr>
          <p:cNvSpPr txBox="1">
            <a:spLocks/>
          </p:cNvSpPr>
          <p:nvPr/>
        </p:nvSpPr>
        <p:spPr>
          <a:xfrm>
            <a:off x="5458265" y="989596"/>
            <a:ext cx="4178808" cy="521208"/>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lang="en-US" sz="1800" kern="1200" dirty="0">
                <a:solidFill>
                  <a:srgbClr val="B2606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Una volta che sei diventato maestro in una cosa, diventa subito allievo in un’altra».</a:t>
            </a:r>
          </a:p>
          <a:p>
            <a:r>
              <a:rPr lang="it-IT" dirty="0"/>
              <a:t>(Gerhart Hauptmann)</a:t>
            </a:r>
          </a:p>
        </p:txBody>
      </p:sp>
      <p:grpSp>
        <p:nvGrpSpPr>
          <p:cNvPr id="5" name="Gruppo 4">
            <a:extLst>
              <a:ext uri="{FF2B5EF4-FFF2-40B4-BE49-F238E27FC236}">
                <a16:creationId xmlns:a16="http://schemas.microsoft.com/office/drawing/2014/main" id="{C1C50E68-13A7-E122-3C39-B24D8616CF7A}"/>
              </a:ext>
            </a:extLst>
          </p:cNvPr>
          <p:cNvGrpSpPr/>
          <p:nvPr/>
        </p:nvGrpSpPr>
        <p:grpSpPr>
          <a:xfrm>
            <a:off x="7209532" y="651795"/>
            <a:ext cx="676275" cy="114300"/>
            <a:chOff x="9330846" y="5054600"/>
            <a:chExt cx="676275" cy="114300"/>
          </a:xfrm>
        </p:grpSpPr>
        <p:sp>
          <p:nvSpPr>
            <p:cNvPr id="6" name="Ovale 5">
              <a:extLst>
                <a:ext uri="{FF2B5EF4-FFF2-40B4-BE49-F238E27FC236}">
                  <a16:creationId xmlns:a16="http://schemas.microsoft.com/office/drawing/2014/main" id="{3257CDAC-52BA-0868-3BC3-7D4FD404CDEB}"/>
                </a:ext>
              </a:extLst>
            </p:cNvPr>
            <p:cNvSpPr/>
            <p:nvPr/>
          </p:nvSpPr>
          <p:spPr>
            <a:xfrm>
              <a:off x="933084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8" name="Ovale 7">
              <a:extLst>
                <a:ext uri="{FF2B5EF4-FFF2-40B4-BE49-F238E27FC236}">
                  <a16:creationId xmlns:a16="http://schemas.microsoft.com/office/drawing/2014/main" id="{F2335758-07FA-2D5C-18FB-587D75648952}"/>
                </a:ext>
              </a:extLst>
            </p:cNvPr>
            <p:cNvSpPr/>
            <p:nvPr/>
          </p:nvSpPr>
          <p:spPr>
            <a:xfrm>
              <a:off x="951817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2" name="Ovale 11">
              <a:extLst>
                <a:ext uri="{FF2B5EF4-FFF2-40B4-BE49-F238E27FC236}">
                  <a16:creationId xmlns:a16="http://schemas.microsoft.com/office/drawing/2014/main" id="{72477224-29A0-4616-7878-53CC41AF1295}"/>
                </a:ext>
              </a:extLst>
            </p:cNvPr>
            <p:cNvSpPr/>
            <p:nvPr/>
          </p:nvSpPr>
          <p:spPr>
            <a:xfrm>
              <a:off x="9705496"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sp>
          <p:nvSpPr>
            <p:cNvPr id="13" name="Ovale 12">
              <a:extLst>
                <a:ext uri="{FF2B5EF4-FFF2-40B4-BE49-F238E27FC236}">
                  <a16:creationId xmlns:a16="http://schemas.microsoft.com/office/drawing/2014/main" id="{A87AB421-B838-6542-EF5F-EB213E396304}"/>
                </a:ext>
              </a:extLst>
            </p:cNvPr>
            <p:cNvSpPr/>
            <p:nvPr/>
          </p:nvSpPr>
          <p:spPr>
            <a:xfrm>
              <a:off x="9892821" y="5054600"/>
              <a:ext cx="114300" cy="1143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noProof="0"/>
            </a:p>
          </p:txBody>
        </p:sp>
      </p:grpSp>
    </p:spTree>
    <p:extLst>
      <p:ext uri="{BB962C8B-B14F-4D97-AF65-F5344CB8AC3E}">
        <p14:creationId xmlns:p14="http://schemas.microsoft.com/office/powerpoint/2010/main" val="35439186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C97640FA-8B18-5996-FC67-576006FEDEEC}"/>
              </a:ext>
            </a:extLst>
          </p:cNvPr>
          <p:cNvGraphicFramePr>
            <a:graphicFrameLocks noChangeAspect="1"/>
          </p:cNvGraphicFramePr>
          <p:nvPr>
            <p:custDataLst>
              <p:tags r:id="rId1"/>
            </p:custDataLst>
            <p:extLst>
              <p:ext uri="{D42A27DB-BD31-4B8C-83A1-F6EECF244321}">
                <p14:modId xmlns:p14="http://schemas.microsoft.com/office/powerpoint/2010/main" val="3551096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Segnaposto immagine 4" descr="gruppo di studenti che corre">
            <a:extLst>
              <a:ext uri="{FF2B5EF4-FFF2-40B4-BE49-F238E27FC236}">
                <a16:creationId xmlns:a16="http://schemas.microsoft.com/office/drawing/2014/main" id="{AEEE5BA3-06F1-4026-A0BB-B08891F46E8E}"/>
              </a:ext>
            </a:extLst>
          </p:cNvPr>
          <p:cNvPicPr>
            <a:picLocks noGrp="1" noChangeAspect="1"/>
          </p:cNvPicPr>
          <p:nvPr>
            <p:ph type="pic" sz="quarter" idx="12"/>
          </p:nvPr>
        </p:nvPicPr>
        <p:blipFill rotWithShape="1">
          <a:blip r:embed="rId6" cstate="email">
            <a:extLst>
              <a:ext uri="{28A0092B-C50C-407E-A947-70E740481C1C}">
                <a14:useLocalDpi xmlns:a14="http://schemas.microsoft.com/office/drawing/2010/main"/>
              </a:ext>
            </a:extLst>
          </a:blip>
          <a:srcRect/>
          <a:stretch/>
        </p:blipFill>
        <p:spPr>
          <a:xfrm>
            <a:off x="0" y="0"/>
            <a:ext cx="8087304" cy="6858000"/>
          </a:xfrm>
        </p:spPr>
      </p:pic>
      <p:pic>
        <p:nvPicPr>
          <p:cNvPr id="16" name="Segnaposto immagine 15" descr="pila di libri a terra">
            <a:extLst>
              <a:ext uri="{FF2B5EF4-FFF2-40B4-BE49-F238E27FC236}">
                <a16:creationId xmlns:a16="http://schemas.microsoft.com/office/drawing/2014/main" id="{4E408D58-0A21-4D16-A8D8-54C17D5AD4A1}"/>
              </a:ext>
            </a:extLst>
          </p:cNvPr>
          <p:cNvPicPr>
            <a:picLocks noGrp="1" noChangeAspect="1"/>
          </p:cNvPicPr>
          <p:nvPr>
            <p:ph type="pic" sz="quarter" idx="13"/>
          </p:nvPr>
        </p:nvPicPr>
        <p:blipFill>
          <a:blip r:embed="rId7" cstate="email">
            <a:extLst>
              <a:ext uri="{28A0092B-C50C-407E-A947-70E740481C1C}">
                <a14:useLocalDpi xmlns:a14="http://schemas.microsoft.com/office/drawing/2010/main"/>
              </a:ext>
            </a:extLst>
          </a:blip>
          <a:srcRect/>
          <a:stretch>
            <a:fillRect/>
          </a:stretch>
        </p:blipFill>
        <p:spPr/>
      </p:pic>
      <p:grpSp>
        <p:nvGrpSpPr>
          <p:cNvPr id="9" name="Gruppo 8">
            <a:extLst>
              <a:ext uri="{FF2B5EF4-FFF2-40B4-BE49-F238E27FC236}">
                <a16:creationId xmlns:a16="http://schemas.microsoft.com/office/drawing/2014/main" id="{E7969C14-1078-4610-9BC5-74119C9B87BE}"/>
              </a:ext>
              <a:ext uri="{C183D7F6-B498-43B3-948B-1728B52AA6E4}">
                <adec:decorative xmlns:adec="http://schemas.microsoft.com/office/drawing/2017/decorative" val="1"/>
              </a:ext>
            </a:extLst>
          </p:cNvPr>
          <p:cNvGrpSpPr/>
          <p:nvPr/>
        </p:nvGrpSpPr>
        <p:grpSpPr>
          <a:xfrm>
            <a:off x="0" y="3808320"/>
            <a:ext cx="7833208" cy="2547440"/>
            <a:chOff x="0" y="3808320"/>
            <a:chExt cx="7833208" cy="2547440"/>
          </a:xfrm>
        </p:grpSpPr>
        <p:sp>
          <p:nvSpPr>
            <p:cNvPr id="10" name="Figura a mano libera: Forma 9">
              <a:extLst>
                <a:ext uri="{FF2B5EF4-FFF2-40B4-BE49-F238E27FC236}">
                  <a16:creationId xmlns:a16="http://schemas.microsoft.com/office/drawing/2014/main" id="{E531D018-EFA3-4346-AB80-7CE436393D9E}"/>
                </a:ext>
              </a:extLst>
            </p:cNvPr>
            <p:cNvSpPr/>
            <p:nvPr/>
          </p:nvSpPr>
          <p:spPr>
            <a:xfrm>
              <a:off x="0" y="3808320"/>
              <a:ext cx="7833208" cy="2547440"/>
            </a:xfrm>
            <a:custGeom>
              <a:avLst/>
              <a:gdLst>
                <a:gd name="connsiteX0" fmla="*/ 0 w 7833208"/>
                <a:gd name="connsiteY0" fmla="*/ 0 h 2547440"/>
                <a:gd name="connsiteX1" fmla="*/ 7833208 w 7833208"/>
                <a:gd name="connsiteY1" fmla="*/ 0 h 2547440"/>
                <a:gd name="connsiteX2" fmla="*/ 7135846 w 7833208"/>
                <a:gd name="connsiteY2" fmla="*/ 2547440 h 2547440"/>
                <a:gd name="connsiteX3" fmla="*/ 0 w 7833208"/>
                <a:gd name="connsiteY3" fmla="*/ 2547440 h 2547440"/>
              </a:gdLst>
              <a:ahLst/>
              <a:cxnLst>
                <a:cxn ang="0">
                  <a:pos x="connsiteX0" y="connsiteY0"/>
                </a:cxn>
                <a:cxn ang="0">
                  <a:pos x="connsiteX1" y="connsiteY1"/>
                </a:cxn>
                <a:cxn ang="0">
                  <a:pos x="connsiteX2" y="connsiteY2"/>
                </a:cxn>
                <a:cxn ang="0">
                  <a:pos x="connsiteX3" y="connsiteY3"/>
                </a:cxn>
              </a:cxnLst>
              <a:rect l="l" t="t" r="r" b="b"/>
              <a:pathLst>
                <a:path w="7833208" h="2547440">
                  <a:moveTo>
                    <a:pt x="0" y="0"/>
                  </a:moveTo>
                  <a:lnTo>
                    <a:pt x="7833208" y="0"/>
                  </a:lnTo>
                  <a:lnTo>
                    <a:pt x="7135846" y="2547440"/>
                  </a:lnTo>
                  <a:lnTo>
                    <a:pt x="0" y="2547440"/>
                  </a:ln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11" name="Figura a mano libera: Forma 10">
              <a:extLst>
                <a:ext uri="{FF2B5EF4-FFF2-40B4-BE49-F238E27FC236}">
                  <a16:creationId xmlns:a16="http://schemas.microsoft.com/office/drawing/2014/main" id="{FA9D7AC8-80D5-49DC-A585-FCFFA6CA4B66}"/>
                </a:ext>
              </a:extLst>
            </p:cNvPr>
            <p:cNvSpPr/>
            <p:nvPr/>
          </p:nvSpPr>
          <p:spPr>
            <a:xfrm>
              <a:off x="1" y="3808320"/>
              <a:ext cx="7692571" cy="2547440"/>
            </a:xfrm>
            <a:custGeom>
              <a:avLst/>
              <a:gdLst>
                <a:gd name="connsiteX0" fmla="*/ 0 w 7692571"/>
                <a:gd name="connsiteY0" fmla="*/ 0 h 2547440"/>
                <a:gd name="connsiteX1" fmla="*/ 7692571 w 7692571"/>
                <a:gd name="connsiteY1" fmla="*/ 0 h 2547440"/>
                <a:gd name="connsiteX2" fmla="*/ 6995209 w 7692571"/>
                <a:gd name="connsiteY2" fmla="*/ 2547440 h 2547440"/>
                <a:gd name="connsiteX3" fmla="*/ 0 w 7692571"/>
                <a:gd name="connsiteY3" fmla="*/ 2547440 h 2547440"/>
              </a:gdLst>
              <a:ahLst/>
              <a:cxnLst>
                <a:cxn ang="0">
                  <a:pos x="connsiteX0" y="connsiteY0"/>
                </a:cxn>
                <a:cxn ang="0">
                  <a:pos x="connsiteX1" y="connsiteY1"/>
                </a:cxn>
                <a:cxn ang="0">
                  <a:pos x="connsiteX2" y="connsiteY2"/>
                </a:cxn>
                <a:cxn ang="0">
                  <a:pos x="connsiteX3" y="connsiteY3"/>
                </a:cxn>
              </a:cxnLst>
              <a:rect l="l" t="t" r="r" b="b"/>
              <a:pathLst>
                <a:path w="7692571" h="2547440">
                  <a:moveTo>
                    <a:pt x="0" y="0"/>
                  </a:moveTo>
                  <a:lnTo>
                    <a:pt x="7692571" y="0"/>
                  </a:lnTo>
                  <a:lnTo>
                    <a:pt x="6995209" y="2547440"/>
                  </a:lnTo>
                  <a:lnTo>
                    <a:pt x="0" y="254744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grpSp>
      <p:sp>
        <p:nvSpPr>
          <p:cNvPr id="33" name="Titolo 32" descr="titolo">
            <a:extLst>
              <a:ext uri="{FF2B5EF4-FFF2-40B4-BE49-F238E27FC236}">
                <a16:creationId xmlns:a16="http://schemas.microsoft.com/office/drawing/2014/main" id="{18CDD97B-6E25-4FB4-B239-493E54AA0830}"/>
              </a:ext>
            </a:extLst>
          </p:cNvPr>
          <p:cNvSpPr>
            <a:spLocks noGrp="1"/>
          </p:cNvSpPr>
          <p:nvPr>
            <p:ph type="title"/>
          </p:nvPr>
        </p:nvSpPr>
        <p:spPr/>
        <p:txBody>
          <a:bodyPr vert="horz" rtlCol="0"/>
          <a:lstStyle/>
          <a:p>
            <a:pPr rtl="0"/>
            <a:r>
              <a:rPr lang="it-IT" sz="3600" dirty="0">
                <a:solidFill>
                  <a:schemeClr val="tx1"/>
                </a:solidFill>
              </a:rPr>
              <a:t>2.</a:t>
            </a:r>
            <a:br>
              <a:rPr lang="it-IT" sz="3600" dirty="0">
                <a:solidFill>
                  <a:schemeClr val="tx1"/>
                </a:solidFill>
              </a:rPr>
            </a:br>
            <a:r>
              <a:rPr lang="it-IT" sz="3600" dirty="0">
                <a:solidFill>
                  <a:schemeClr val="tx1"/>
                </a:solidFill>
              </a:rPr>
              <a:t>I 7 elementi della didattica innovativa</a:t>
            </a:r>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3" name="Segnaposto numero diapositiva 5" descr="numero diapositiva">
            <a:extLst>
              <a:ext uri="{FF2B5EF4-FFF2-40B4-BE49-F238E27FC236}">
                <a16:creationId xmlns:a16="http://schemas.microsoft.com/office/drawing/2014/main" id="{D803F682-0E68-4ECD-A92D-F73743FF2E6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5</a:t>
            </a:fld>
            <a:endParaRPr lang="it-IT" sz="1200">
              <a:solidFill>
                <a:schemeClr val="bg1"/>
              </a:solidFill>
            </a:endParaRPr>
          </a:p>
        </p:txBody>
      </p:sp>
    </p:spTree>
    <p:extLst>
      <p:ext uri="{BB962C8B-B14F-4D97-AF65-F5344CB8AC3E}">
        <p14:creationId xmlns:p14="http://schemas.microsoft.com/office/powerpoint/2010/main" val="8765298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B2606E"/>
        </a:solidFill>
        <a:effectLst/>
      </p:bgPr>
    </p:bg>
    <p:spTree>
      <p:nvGrpSpPr>
        <p:cNvPr id="1" name=""/>
        <p:cNvGrpSpPr/>
        <p:nvPr/>
      </p:nvGrpSpPr>
      <p:grpSpPr>
        <a:xfrm>
          <a:off x="0" y="0"/>
          <a:ext cx="0" cy="0"/>
          <a:chOff x="0" y="0"/>
          <a:chExt cx="0" cy="0"/>
        </a:xfrm>
      </p:grpSpPr>
      <p:graphicFrame>
        <p:nvGraphicFramePr>
          <p:cNvPr id="3" name="Oggetto 2" hidden="1">
            <a:extLst>
              <a:ext uri="{FF2B5EF4-FFF2-40B4-BE49-F238E27FC236}">
                <a16:creationId xmlns:a16="http://schemas.microsoft.com/office/drawing/2014/main" id="{1F5B7BF8-FD8E-E552-7489-9F6ABCC585AC}"/>
              </a:ext>
            </a:extLst>
          </p:cNvPr>
          <p:cNvGraphicFramePr>
            <a:graphicFrameLocks noChangeAspect="1"/>
          </p:cNvGraphicFramePr>
          <p:nvPr>
            <p:custDataLst>
              <p:tags r:id="rId1"/>
            </p:custDataLst>
            <p:extLst>
              <p:ext uri="{D42A27DB-BD31-4B8C-83A1-F6EECF244321}">
                <p14:modId xmlns:p14="http://schemas.microsoft.com/office/powerpoint/2010/main" val="3397047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5" imgW="359" imgH="360" progId="TCLayout.ActiveDocument.1">
                  <p:embed/>
                </p:oleObj>
              </mc:Choice>
              <mc:Fallback>
                <p:oleObj name="Diapositiva think-cell"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I 7 elementi della didattica innovativa">
            <a:hlinkClick r:id="" action="ppaction://media"/>
            <a:extLst>
              <a:ext uri="{FF2B5EF4-FFF2-40B4-BE49-F238E27FC236}">
                <a16:creationId xmlns:a16="http://schemas.microsoft.com/office/drawing/2014/main" id="{19A4B3F1-EEA6-8DA1-9340-1F43D697DFF1}"/>
              </a:ext>
            </a:extLst>
          </p:cNvPr>
          <p:cNvPicPr>
            <a:picLocks noGrp="1" noChangeAspect="1"/>
          </p:cNvPicPr>
          <p:nvPr>
            <p:ph idx="1"/>
            <a:videoFile r:link="rId2"/>
            <p:extLst>
              <p:ext uri="{DAA4B4D4-6D71-4841-9C94-3DE7FCFB9230}">
                <p14:media xmlns:p14="http://schemas.microsoft.com/office/powerpoint/2010/main" r:embed="rId3">
                  <p14:trim end="4709.4687"/>
                </p14:media>
              </p:ext>
            </p:extLst>
          </p:nvPr>
        </p:nvPicPr>
        <p:blipFill>
          <a:blip r:embed="rId7"/>
          <a:stretch>
            <a:fillRect/>
          </a:stretch>
        </p:blipFill>
        <p:spPr>
          <a:xfrm>
            <a:off x="535879" y="134406"/>
            <a:ext cx="10250301" cy="5766034"/>
          </a:xfrm>
        </p:spPr>
      </p:pic>
    </p:spTree>
    <p:extLst>
      <p:ext uri="{BB962C8B-B14F-4D97-AF65-F5344CB8AC3E}">
        <p14:creationId xmlns:p14="http://schemas.microsoft.com/office/powerpoint/2010/main" val="3757160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529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4"/>
                </p:tgtEl>
              </p:cMediaNode>
            </p:video>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01FCCB21-B85B-EE77-1988-F1A83BE48A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2" name="Oggetto 1" hidden="1">
                        <a:extLst>
                          <a:ext uri="{FF2B5EF4-FFF2-40B4-BE49-F238E27FC236}">
                            <a16:creationId xmlns:a16="http://schemas.microsoft.com/office/drawing/2014/main" id="{01FCCB21-B85B-EE77-1988-F1A83BE48A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Segnaposto immagine 6">
            <a:extLst>
              <a:ext uri="{FF2B5EF4-FFF2-40B4-BE49-F238E27FC236}">
                <a16:creationId xmlns:a16="http://schemas.microsoft.com/office/drawing/2014/main" id="{3111B687-3781-4457-A624-86311FC69082}"/>
              </a:ext>
            </a:extLst>
          </p:cNvPr>
          <p:cNvPicPr>
            <a:picLocks noGrp="1" noChangeAspect="1"/>
          </p:cNvPicPr>
          <p:nvPr>
            <p:ph type="pic" sz="quarter" idx="10"/>
          </p:nvPr>
        </p:nvPicPr>
        <p:blipFill>
          <a:blip r:embed="rId6"/>
          <a:srcRect/>
          <a:stretch/>
        </p:blipFill>
        <p:spPr>
          <a:xfrm>
            <a:off x="6836125" y="0"/>
            <a:ext cx="5355875" cy="6858000"/>
          </a:xfrm>
        </p:spPr>
      </p:pic>
      <p:grpSp>
        <p:nvGrpSpPr>
          <p:cNvPr id="11" name="Gruppo 10">
            <a:extLst>
              <a:ext uri="{FF2B5EF4-FFF2-40B4-BE49-F238E27FC236}">
                <a16:creationId xmlns:a16="http://schemas.microsoft.com/office/drawing/2014/main" id="{AB025618-C830-4992-9CD3-D9E49BC79E67}"/>
              </a:ext>
              <a:ext uri="{C183D7F6-B498-43B3-948B-1728B52AA6E4}">
                <adec:decorative xmlns:adec="http://schemas.microsoft.com/office/drawing/2017/decorative" val="1"/>
              </a:ext>
            </a:extLst>
          </p:cNvPr>
          <p:cNvGrpSpPr/>
          <p:nvPr/>
        </p:nvGrpSpPr>
        <p:grpSpPr>
          <a:xfrm>
            <a:off x="2568857" y="0"/>
            <a:ext cx="7388298" cy="6858000"/>
            <a:chOff x="1826589" y="0"/>
            <a:chExt cx="7388298" cy="6858000"/>
          </a:xfrm>
        </p:grpSpPr>
        <p:sp>
          <p:nvSpPr>
            <p:cNvPr id="10" name="Parallelogramma 9">
              <a:extLst>
                <a:ext uri="{FF2B5EF4-FFF2-40B4-BE49-F238E27FC236}">
                  <a16:creationId xmlns:a16="http://schemas.microsoft.com/office/drawing/2014/main" id="{11E692D4-6AEA-4652-A7AE-A02328258A55}"/>
                </a:ext>
              </a:extLst>
            </p:cNvPr>
            <p:cNvSpPr/>
            <p:nvPr/>
          </p:nvSpPr>
          <p:spPr>
            <a:xfrm>
              <a:off x="2618099" y="0"/>
              <a:ext cx="6596788" cy="6858000"/>
            </a:xfrm>
            <a:prstGeom prst="parallelogram">
              <a:avLst/>
            </a:prstGeom>
            <a:solidFill>
              <a:schemeClr val="bg1">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9" name="Parallelogramma 8">
              <a:extLst>
                <a:ext uri="{FF2B5EF4-FFF2-40B4-BE49-F238E27FC236}">
                  <a16:creationId xmlns:a16="http://schemas.microsoft.com/office/drawing/2014/main" id="{A134AA32-2418-4A09-9BA8-ED7207AC0D74}"/>
                </a:ext>
              </a:extLst>
            </p:cNvPr>
            <p:cNvSpPr/>
            <p:nvPr/>
          </p:nvSpPr>
          <p:spPr>
            <a:xfrm>
              <a:off x="2340861" y="0"/>
              <a:ext cx="6596788" cy="6858000"/>
            </a:xfrm>
            <a:prstGeom prst="parallelogram">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22" name="Parallelogramma 21">
              <a:extLst>
                <a:ext uri="{FF2B5EF4-FFF2-40B4-BE49-F238E27FC236}">
                  <a16:creationId xmlns:a16="http://schemas.microsoft.com/office/drawing/2014/main" id="{0051AD99-BC4A-487F-BE1C-486FC5B8E9F2}"/>
                </a:ext>
                <a:ext uri="{C183D7F6-B498-43B3-948B-1728B52AA6E4}">
                  <adec:decorative xmlns:adec="http://schemas.microsoft.com/office/drawing/2017/decorative" val="1"/>
                </a:ext>
              </a:extLst>
            </p:cNvPr>
            <p:cNvSpPr/>
            <p:nvPr/>
          </p:nvSpPr>
          <p:spPr>
            <a:xfrm>
              <a:off x="1826589" y="0"/>
              <a:ext cx="6596788" cy="6858000"/>
            </a:xfrm>
            <a:prstGeom prst="parallelogram">
              <a:avLst/>
            </a:prstGeom>
            <a:solidFill>
              <a:schemeClr val="bg1">
                <a:alpha val="8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4" name="Titolo 3" descr="Titolo">
            <a:extLst>
              <a:ext uri="{FF2B5EF4-FFF2-40B4-BE49-F238E27FC236}">
                <a16:creationId xmlns:a16="http://schemas.microsoft.com/office/drawing/2014/main" id="{DFF36EE7-AE57-42F4-ACA9-A328C1F4EA02}"/>
              </a:ext>
            </a:extLst>
          </p:cNvPr>
          <p:cNvSpPr>
            <a:spLocks noGrp="1"/>
          </p:cNvSpPr>
          <p:nvPr>
            <p:ph type="title"/>
          </p:nvPr>
        </p:nvSpPr>
        <p:spPr/>
        <p:txBody>
          <a:bodyPr vert="horz" rtlCol="0"/>
          <a:lstStyle/>
          <a:p>
            <a:pPr rtl="0"/>
            <a:r>
              <a:rPr lang="it-IT" dirty="0"/>
              <a:t>Qual è la tua idea di didattica? </a:t>
            </a:r>
            <a:br>
              <a:rPr lang="it-IT" dirty="0"/>
            </a:br>
            <a:r>
              <a:rPr lang="it-IT" dirty="0"/>
              <a:t>Che differenza fra </a:t>
            </a:r>
            <a:r>
              <a:rPr lang="it-IT" b="1" dirty="0"/>
              <a:t>idea</a:t>
            </a:r>
            <a:r>
              <a:rPr lang="it-IT" dirty="0"/>
              <a:t> e </a:t>
            </a:r>
            <a:r>
              <a:rPr lang="it-IT" b="1" dirty="0"/>
              <a:t>progetto</a:t>
            </a:r>
            <a:r>
              <a:rPr lang="it-IT" dirty="0"/>
              <a:t>?</a:t>
            </a:r>
          </a:p>
        </p:txBody>
      </p:sp>
      <p:sp>
        <p:nvSpPr>
          <p:cNvPr id="23" name="Segnaposto testo 22" descr="blocco di contenuto 1">
            <a:extLst>
              <a:ext uri="{FF2B5EF4-FFF2-40B4-BE49-F238E27FC236}">
                <a16:creationId xmlns:a16="http://schemas.microsoft.com/office/drawing/2014/main" id="{B88939B0-5B9A-4423-AFD1-CF6B22268795}"/>
              </a:ext>
            </a:extLst>
          </p:cNvPr>
          <p:cNvSpPr>
            <a:spLocks noGrp="1"/>
          </p:cNvSpPr>
          <p:nvPr>
            <p:ph type="body" sz="quarter" idx="11"/>
          </p:nvPr>
        </p:nvSpPr>
        <p:spPr>
          <a:xfrm>
            <a:off x="647700" y="2717803"/>
            <a:ext cx="7156598" cy="3368675"/>
          </a:xfrm>
        </p:spPr>
        <p:txBody>
          <a:bodyPr rtlCol="0"/>
          <a:lstStyle/>
          <a:p>
            <a:pPr marL="342900" indent="-342900" rtl="0">
              <a:buClr>
                <a:srgbClr val="AB678E"/>
              </a:buClr>
              <a:buFont typeface="Arial" panose="020B0604020202020204" pitchFamily="34" charset="0"/>
              <a:buChar char="•"/>
            </a:pPr>
            <a:r>
              <a:rPr lang="it-IT" sz="2400" dirty="0">
                <a:latin typeface="+mj-lt"/>
              </a:rPr>
              <a:t>L’idea è solo una proiezione, una rappresentazione nella mente di un oggetto o di una situazione.</a:t>
            </a:r>
          </a:p>
          <a:p>
            <a:pPr marL="342900" indent="-342900" rtl="0">
              <a:buClr>
                <a:srgbClr val="AB678E"/>
              </a:buClr>
              <a:buFont typeface="Arial" panose="020B0604020202020204" pitchFamily="34" charset="0"/>
              <a:buChar char="•"/>
            </a:pPr>
            <a:r>
              <a:rPr lang="it-IT" sz="2400" dirty="0">
                <a:latin typeface="+mj-lt"/>
              </a:rPr>
              <a:t>Non è reale ma è frutto del pensiero. Nella maggior parte dei casi rimane lì, non diventerà mai reale perché non si riesce a tramutarla in progetto.</a:t>
            </a:r>
          </a:p>
          <a:p>
            <a:pPr marL="342900" indent="-342900" rtl="0">
              <a:buClr>
                <a:srgbClr val="AB678E"/>
              </a:buClr>
              <a:buFont typeface="Arial" panose="020B0604020202020204" pitchFamily="34" charset="0"/>
              <a:buChar char="•"/>
            </a:pPr>
            <a:r>
              <a:rPr lang="it-IT" sz="2400" dirty="0">
                <a:latin typeface="+mj-lt"/>
              </a:rPr>
              <a:t>Un progetto invece è qualcosa di reale: sono tutte quelle azioni, quei “gesti”, quei “movimenti” che costantemente si fanno per la realizzazione di uno scopo.</a:t>
            </a:r>
          </a:p>
        </p:txBody>
      </p:sp>
      <p:sp>
        <p:nvSpPr>
          <p:cNvPr id="14" name="Rettangolo 13">
            <a:extLst>
              <a:ext uri="{FF2B5EF4-FFF2-40B4-BE49-F238E27FC236}">
                <a16:creationId xmlns:a16="http://schemas.microsoft.com/office/drawing/2014/main" id="{C862BC4D-BD7A-417E-A34A-59CE4D4A6AC8}"/>
              </a:ext>
              <a:ext uri="{C183D7F6-B498-43B3-948B-1728B52AA6E4}">
                <adec:decorative xmlns:adec="http://schemas.microsoft.com/office/drawing/2017/decorative" val="1"/>
              </a:ext>
            </a:extLst>
          </p:cNvPr>
          <p:cNvSpPr/>
          <p:nvPr/>
        </p:nvSpPr>
        <p:spPr>
          <a:xfrm>
            <a:off x="0" y="6355760"/>
            <a:ext cx="12192000" cy="91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5" name="Ovale 14">
            <a:extLst>
              <a:ext uri="{FF2B5EF4-FFF2-40B4-BE49-F238E27FC236}">
                <a16:creationId xmlns:a16="http://schemas.microsoft.com/office/drawing/2014/main" id="{652937FB-CDE3-46B3-8481-AB5DB8C4BABA}"/>
              </a:ext>
              <a:ext uri="{C183D7F6-B498-43B3-948B-1728B52AA6E4}">
                <adec:decorative xmlns:adec="http://schemas.microsoft.com/office/drawing/2017/decorative" val="1"/>
              </a:ext>
            </a:extLst>
          </p:cNvPr>
          <p:cNvSpPr/>
          <p:nvPr/>
        </p:nvSpPr>
        <p:spPr>
          <a:xfrm>
            <a:off x="11091210" y="6086479"/>
            <a:ext cx="600974" cy="60097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sp>
        <p:nvSpPr>
          <p:cNvPr id="17" name="Segnaposto numero diapositiva 5" descr="Numero diapositiva">
            <a:extLst>
              <a:ext uri="{FF2B5EF4-FFF2-40B4-BE49-F238E27FC236}">
                <a16:creationId xmlns:a16="http://schemas.microsoft.com/office/drawing/2014/main" id="{79161314-0A22-4109-A2B1-41E87EFE1E18}"/>
              </a:ext>
              <a:ext uri="{C183D7F6-B498-43B3-948B-1728B52AA6E4}">
                <adec:decorative xmlns:adec="http://schemas.microsoft.com/office/drawing/2017/decorative" val="0"/>
              </a:ext>
            </a:extLst>
          </p:cNvPr>
          <p:cNvSpPr txBox="1">
            <a:spLocks/>
          </p:cNvSpPr>
          <p:nvPr/>
        </p:nvSpPr>
        <p:spPr>
          <a:xfrm>
            <a:off x="11091210" y="6189345"/>
            <a:ext cx="600974" cy="395243"/>
          </a:xfrm>
          <a:prstGeom prst="rect">
            <a:avLst/>
          </a:prstGeom>
        </p:spPr>
        <p:txBody>
          <a:bodyPr vert="horz" lIns="0" tIns="0" rIns="0" bIns="0" rtlCol="0" anchor="ctr"/>
          <a:lstStyle>
            <a:defPPr>
              <a:defRPr lang="en-US"/>
            </a:defPPr>
            <a:lvl1pPr marL="0" algn="r" defTabSz="914400" rtl="0" eaLnBrk="1" latinLnBrk="0" hangingPunct="1">
              <a:defRPr sz="11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rtl="0"/>
            <a:fld id="{247A4EEE-49CE-4F6C-BF32-B7FCC5EBBF45}" type="slidenum">
              <a:rPr lang="it-IT" sz="1200" smtClean="0">
                <a:solidFill>
                  <a:schemeClr val="bg1"/>
                </a:solidFill>
              </a:rPr>
              <a:pPr algn="ctr" rtl="0"/>
              <a:t>7</a:t>
            </a:fld>
            <a:endParaRPr lang="it-IT" sz="1200">
              <a:solidFill>
                <a:schemeClr val="bg1"/>
              </a:solidFill>
            </a:endParaRPr>
          </a:p>
        </p:txBody>
      </p:sp>
    </p:spTree>
    <p:extLst>
      <p:ext uri="{BB962C8B-B14F-4D97-AF65-F5344CB8AC3E}">
        <p14:creationId xmlns:p14="http://schemas.microsoft.com/office/powerpoint/2010/main" val="249959370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olo 7">
            <a:extLst>
              <a:ext uri="{FF2B5EF4-FFF2-40B4-BE49-F238E27FC236}">
                <a16:creationId xmlns:a16="http://schemas.microsoft.com/office/drawing/2014/main" id="{1DFD9819-D931-EA02-5912-D3CC0D40C6CF}"/>
              </a:ext>
            </a:extLst>
          </p:cNvPr>
          <p:cNvSpPr>
            <a:spLocks noGrp="1"/>
          </p:cNvSpPr>
          <p:nvPr>
            <p:ph type="ctrTitle"/>
          </p:nvPr>
        </p:nvSpPr>
        <p:spPr>
          <a:xfrm>
            <a:off x="6676567" y="1623060"/>
            <a:ext cx="5515433" cy="3611880"/>
          </a:xfrm>
          <a:solidFill>
            <a:schemeClr val="bg1"/>
          </a:solidFill>
        </p:spPr>
        <p:txBody>
          <a:bodyPr/>
          <a:lstStyle/>
          <a:p>
            <a:br>
              <a:rPr lang="it-IT" dirty="0"/>
            </a:br>
            <a:br>
              <a:rPr lang="it-IT" dirty="0"/>
            </a:br>
            <a:r>
              <a:rPr lang="it-IT" dirty="0"/>
              <a:t>Cosa ti fa venire in mente il termine «Sperimentazione»?</a:t>
            </a:r>
            <a:br>
              <a:rPr lang="it-IT" dirty="0"/>
            </a:br>
            <a:endParaRPr lang="it-IT" dirty="0"/>
          </a:p>
        </p:txBody>
      </p:sp>
      <p:sp>
        <p:nvSpPr>
          <p:cNvPr id="9" name="Sottotitolo 8">
            <a:extLst>
              <a:ext uri="{FF2B5EF4-FFF2-40B4-BE49-F238E27FC236}">
                <a16:creationId xmlns:a16="http://schemas.microsoft.com/office/drawing/2014/main" id="{22602610-1179-06B1-69AB-5776FDD0CFD0}"/>
              </a:ext>
            </a:extLst>
          </p:cNvPr>
          <p:cNvSpPr>
            <a:spLocks noGrp="1"/>
          </p:cNvSpPr>
          <p:nvPr>
            <p:ph type="subTitle" idx="1"/>
          </p:nvPr>
        </p:nvSpPr>
        <p:spPr/>
        <p:txBody>
          <a:bodyPr/>
          <a:lstStyle/>
          <a:p>
            <a:r>
              <a:rPr lang="it-IT" sz="2400" b="1" dirty="0">
                <a:solidFill>
                  <a:schemeClr val="tx1"/>
                </a:solidFill>
                <a:latin typeface="+mj-lt"/>
              </a:rPr>
              <a:t>Inquadra il QR-code e condividi con noi 3 parole</a:t>
            </a:r>
          </a:p>
        </p:txBody>
      </p:sp>
      <p:pic>
        <p:nvPicPr>
          <p:cNvPr id="2" name="Picture 2" descr="Immagine che contiene modello, Elementi grafici, pixel, design&#10;&#10;Descrizione generata automaticamente">
            <a:extLst>
              <a:ext uri="{FF2B5EF4-FFF2-40B4-BE49-F238E27FC236}">
                <a16:creationId xmlns:a16="http://schemas.microsoft.com/office/drawing/2014/main" id="{6991FB83-B352-DCC6-E1DE-269EAC7B4AA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423" t="6851" r="7848" b="8081"/>
          <a:stretch/>
        </p:blipFill>
        <p:spPr bwMode="auto">
          <a:xfrm>
            <a:off x="6372685" y="1011223"/>
            <a:ext cx="5819315" cy="5774400"/>
          </a:xfrm>
          <a:prstGeom prst="rect">
            <a:avLst/>
          </a:prstGeom>
          <a:solidFill>
            <a:srgbClr val="FFFFFF"/>
          </a:solidFill>
        </p:spPr>
      </p:pic>
      <p:sp>
        <p:nvSpPr>
          <p:cNvPr id="4" name="Text Placeholder 3">
            <a:extLst>
              <a:ext uri="{FF2B5EF4-FFF2-40B4-BE49-F238E27FC236}">
                <a16:creationId xmlns:a16="http://schemas.microsoft.com/office/drawing/2014/main" id="{1B5DE49D-50BE-E96C-B3B9-1E0F533AD129}"/>
              </a:ext>
            </a:extLst>
          </p:cNvPr>
          <p:cNvSpPr txBox="1">
            <a:spLocks/>
          </p:cNvSpPr>
          <p:nvPr/>
        </p:nvSpPr>
        <p:spPr>
          <a:xfrm>
            <a:off x="2389614" y="170377"/>
            <a:ext cx="7412771" cy="823912"/>
          </a:xfrm>
          <a:prstGeom prst="rect">
            <a:avLst/>
          </a:prstGeom>
        </p:spPr>
        <p:txBody>
          <a:bodyP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000" dirty="0"/>
              <a:t>https://www.menti.com/alf2p1azz9uk</a:t>
            </a:r>
          </a:p>
        </p:txBody>
      </p:sp>
      <p:pic>
        <p:nvPicPr>
          <p:cNvPr id="5" name="Immagine 4" descr="Immagine che contiene cartone animato, dipinto, uccello, arte&#10;&#10;Descrizione generata automaticamente">
            <a:extLst>
              <a:ext uri="{FF2B5EF4-FFF2-40B4-BE49-F238E27FC236}">
                <a16:creationId xmlns:a16="http://schemas.microsoft.com/office/drawing/2014/main" id="{03EFBBAB-637F-CF58-F55D-6B685C432C3A}"/>
              </a:ext>
            </a:extLst>
          </p:cNvPr>
          <p:cNvPicPr>
            <a:picLocks noChangeAspect="1"/>
          </p:cNvPicPr>
          <p:nvPr/>
        </p:nvPicPr>
        <p:blipFill>
          <a:blip r:embed="rId3"/>
          <a:stretch>
            <a:fillRect/>
          </a:stretch>
        </p:blipFill>
        <p:spPr>
          <a:xfrm>
            <a:off x="633186" y="1852527"/>
            <a:ext cx="5332147" cy="2799376"/>
          </a:xfrm>
          <a:prstGeom prst="rect">
            <a:avLst/>
          </a:prstGeom>
          <a:noFill/>
        </p:spPr>
      </p:pic>
      <p:sp>
        <p:nvSpPr>
          <p:cNvPr id="6" name="Title 1">
            <a:extLst>
              <a:ext uri="{FF2B5EF4-FFF2-40B4-BE49-F238E27FC236}">
                <a16:creationId xmlns:a16="http://schemas.microsoft.com/office/drawing/2014/main" id="{42FDE70A-D3E3-CFC4-3584-4C6969FA3BC6}"/>
              </a:ext>
            </a:extLst>
          </p:cNvPr>
          <p:cNvSpPr txBox="1">
            <a:spLocks/>
          </p:cNvSpPr>
          <p:nvPr/>
        </p:nvSpPr>
        <p:spPr>
          <a:xfrm>
            <a:off x="250414" y="792063"/>
            <a:ext cx="5200987" cy="830997"/>
          </a:xfrm>
          <a:prstGeom prst="rect">
            <a:avLst/>
          </a:prstGeom>
        </p:spPr>
        <p:txBody>
          <a:bodyPr vert="horz" lIns="91440" tIns="45720" rIns="91440" bIns="45720" rtlCol="0" anchor="b" anchorCtr="1">
            <a:noAutofit/>
          </a:bodyPr>
          <a:lstStyle>
            <a:lvl1pPr algn="l" defTabSz="914400" rtl="0" eaLnBrk="1" latinLnBrk="0" hangingPunct="1">
              <a:lnSpc>
                <a:spcPct val="90000"/>
              </a:lnSpc>
              <a:spcBef>
                <a:spcPct val="0"/>
              </a:spcBef>
              <a:buNone/>
              <a:defRPr lang="en-GB" sz="4400" kern="1200" dirty="0">
                <a:solidFill>
                  <a:schemeClr val="tx1"/>
                </a:solidFill>
                <a:latin typeface="+mj-lt"/>
                <a:ea typeface="+mj-ea"/>
                <a:cs typeface="+mj-cs"/>
              </a:defRPr>
            </a:lvl1pPr>
          </a:lstStyle>
          <a:p>
            <a:r>
              <a:rPr lang="en-US" sz="2400" b="1"/>
              <a:t>Osserva velocemente l’imagine…</a:t>
            </a:r>
          </a:p>
        </p:txBody>
      </p:sp>
      <p:sp>
        <p:nvSpPr>
          <p:cNvPr id="7" name="Sottotitolo 8">
            <a:extLst>
              <a:ext uri="{FF2B5EF4-FFF2-40B4-BE49-F238E27FC236}">
                <a16:creationId xmlns:a16="http://schemas.microsoft.com/office/drawing/2014/main" id="{7301DFD5-1689-3CF1-B7FF-EA24E1FBA064}"/>
              </a:ext>
            </a:extLst>
          </p:cNvPr>
          <p:cNvSpPr txBox="1">
            <a:spLocks/>
          </p:cNvSpPr>
          <p:nvPr/>
        </p:nvSpPr>
        <p:spPr>
          <a:xfrm>
            <a:off x="733098" y="5373103"/>
            <a:ext cx="4178808" cy="521208"/>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it-IT" dirty="0">
                <a:latin typeface="+mj-lt"/>
              </a:rPr>
              <a:t>Poi inquadra il QR-code</a:t>
            </a:r>
          </a:p>
        </p:txBody>
      </p:sp>
    </p:spTree>
    <p:extLst>
      <p:ext uri="{BB962C8B-B14F-4D97-AF65-F5344CB8AC3E}">
        <p14:creationId xmlns:p14="http://schemas.microsoft.com/office/powerpoint/2010/main" val="329715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ggetto 4" hidden="1">
            <a:extLst>
              <a:ext uri="{FF2B5EF4-FFF2-40B4-BE49-F238E27FC236}">
                <a16:creationId xmlns:a16="http://schemas.microsoft.com/office/drawing/2014/main" id="{786D56B9-96B8-2A80-91C1-60FE5D4CBB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59" imgH="360" progId="TCLayout.ActiveDocument.1">
                  <p:embed/>
                </p:oleObj>
              </mc:Choice>
              <mc:Fallback>
                <p:oleObj name="Diapositiva think-cell" r:id="rId4" imgW="359" imgH="360" progId="TCLayout.ActiveDocument.1">
                  <p:embed/>
                  <p:pic>
                    <p:nvPicPr>
                      <p:cNvPr id="5" name="Oggetto 4" hidden="1">
                        <a:extLst>
                          <a:ext uri="{FF2B5EF4-FFF2-40B4-BE49-F238E27FC236}">
                            <a16:creationId xmlns:a16="http://schemas.microsoft.com/office/drawing/2014/main" id="{786D56B9-96B8-2A80-91C1-60FE5D4CB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Segnaposto immagine 13">
            <a:extLst>
              <a:ext uri="{FF2B5EF4-FFF2-40B4-BE49-F238E27FC236}">
                <a16:creationId xmlns:a16="http://schemas.microsoft.com/office/drawing/2014/main" id="{E983D85E-34D8-430D-875F-7EBB69A6B73E}"/>
              </a:ext>
            </a:extLst>
          </p:cNvPr>
          <p:cNvPicPr>
            <a:picLocks noGrp="1" noChangeAspect="1"/>
          </p:cNvPicPr>
          <p:nvPr>
            <p:ph type="pic" sz="quarter" idx="10"/>
          </p:nvPr>
        </p:nvPicPr>
        <p:blipFill>
          <a:blip r:embed="rId6"/>
          <a:srcRect/>
          <a:stretch/>
        </p:blipFill>
        <p:spPr/>
      </p:pic>
      <p:grpSp>
        <p:nvGrpSpPr>
          <p:cNvPr id="4" name="Gruppo 3">
            <a:extLst>
              <a:ext uri="{FF2B5EF4-FFF2-40B4-BE49-F238E27FC236}">
                <a16:creationId xmlns:a16="http://schemas.microsoft.com/office/drawing/2014/main" id="{EB664AAE-5AE9-41D7-8346-002B9F445323}"/>
              </a:ext>
              <a:ext uri="{C183D7F6-B498-43B3-948B-1728B52AA6E4}">
                <adec:decorative xmlns:adec="http://schemas.microsoft.com/office/drawing/2017/decorative" val="1"/>
              </a:ext>
            </a:extLst>
          </p:cNvPr>
          <p:cNvGrpSpPr/>
          <p:nvPr/>
        </p:nvGrpSpPr>
        <p:grpSpPr>
          <a:xfrm>
            <a:off x="-3740" y="0"/>
            <a:ext cx="6208649" cy="6858000"/>
            <a:chOff x="-3740" y="0"/>
            <a:chExt cx="6208649" cy="6858000"/>
          </a:xfrm>
        </p:grpSpPr>
        <p:sp>
          <p:nvSpPr>
            <p:cNvPr id="11" name="Figura a mano libera: Forma 10">
              <a:extLst>
                <a:ext uri="{FF2B5EF4-FFF2-40B4-BE49-F238E27FC236}">
                  <a16:creationId xmlns:a16="http://schemas.microsoft.com/office/drawing/2014/main" id="{927C3783-B800-4093-BB0D-D5AEF08C3B59}"/>
                </a:ext>
              </a:extLst>
            </p:cNvPr>
            <p:cNvSpPr/>
            <p:nvPr/>
          </p:nvSpPr>
          <p:spPr>
            <a:xfrm>
              <a:off x="-3740" y="0"/>
              <a:ext cx="6208649" cy="6858000"/>
            </a:xfrm>
            <a:custGeom>
              <a:avLst/>
              <a:gdLst>
                <a:gd name="connsiteX0" fmla="*/ 0 w 6208649"/>
                <a:gd name="connsiteY0" fmla="*/ 0 h 6858000"/>
                <a:gd name="connsiteX1" fmla="*/ 6208649 w 6208649"/>
                <a:gd name="connsiteY1" fmla="*/ 0 h 6858000"/>
                <a:gd name="connsiteX2" fmla="*/ 2737815 w 6208649"/>
                <a:gd name="connsiteY2" fmla="*/ 6858000 h 6858000"/>
                <a:gd name="connsiteX3" fmla="*/ 0 w 6208649"/>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208649" h="6858000">
                  <a:moveTo>
                    <a:pt x="0" y="0"/>
                  </a:moveTo>
                  <a:lnTo>
                    <a:pt x="6208649" y="0"/>
                  </a:lnTo>
                  <a:lnTo>
                    <a:pt x="2737815" y="6858000"/>
                  </a:lnTo>
                  <a:lnTo>
                    <a:pt x="0" y="6858000"/>
                  </a:lnTo>
                  <a:close/>
                </a:path>
              </a:pathLst>
            </a:custGeom>
            <a:solidFill>
              <a:schemeClr val="bg1">
                <a:lumMod val="95000"/>
                <a:alpha val="5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it-IT"/>
            </a:p>
          </p:txBody>
        </p:sp>
        <p:sp>
          <p:nvSpPr>
            <p:cNvPr id="9" name="Rettangolo 8">
              <a:extLst>
                <a:ext uri="{FF2B5EF4-FFF2-40B4-BE49-F238E27FC236}">
                  <a16:creationId xmlns:a16="http://schemas.microsoft.com/office/drawing/2014/main" id="{B576E978-A841-4A4F-B153-CC369D9391D3}"/>
                </a:ext>
              </a:extLst>
            </p:cNvPr>
            <p:cNvSpPr/>
            <p:nvPr/>
          </p:nvSpPr>
          <p:spPr>
            <a:xfrm>
              <a:off x="1451429" y="0"/>
              <a:ext cx="3222172" cy="6858000"/>
            </a:xfrm>
            <a:prstGeom prst="rect">
              <a:avLst/>
            </a:prstGeom>
            <a:solidFill>
              <a:schemeClr val="accent1">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it-IT"/>
            </a:p>
          </p:txBody>
        </p:sp>
      </p:grpSp>
      <p:sp>
        <p:nvSpPr>
          <p:cNvPr id="10" name="CasellaDiTesto 9">
            <a:extLst>
              <a:ext uri="{FF2B5EF4-FFF2-40B4-BE49-F238E27FC236}">
                <a16:creationId xmlns:a16="http://schemas.microsoft.com/office/drawing/2014/main" id="{91FD0D2B-0193-D30D-561D-F9674D90E20E}"/>
              </a:ext>
            </a:extLst>
          </p:cNvPr>
          <p:cNvSpPr txBox="1"/>
          <p:nvPr/>
        </p:nvSpPr>
        <p:spPr>
          <a:xfrm>
            <a:off x="7209693" y="1292469"/>
            <a:ext cx="4536830" cy="5262979"/>
          </a:xfrm>
          <a:prstGeom prst="rect">
            <a:avLst/>
          </a:prstGeom>
          <a:solidFill>
            <a:schemeClr val="bg1"/>
          </a:solidFill>
        </p:spPr>
        <p:txBody>
          <a:bodyPr wrap="square" rtlCol="0">
            <a:spAutoFit/>
          </a:bodyPr>
          <a:lstStyle/>
          <a:p>
            <a:r>
              <a:rPr lang="it-IT" b="1" dirty="0">
                <a:latin typeface="+mj-lt"/>
              </a:rPr>
              <a:t>PASSEROTTO</a:t>
            </a:r>
          </a:p>
          <a:p>
            <a:r>
              <a:rPr lang="it-IT" dirty="0">
                <a:latin typeface="+mj-lt"/>
              </a:rPr>
              <a:t>Il vostro emisfero sinistro è più attivo di quello destro. Avete una mente analitica, siete e precisi e razionali. Tendete ad analizzare ogni minimo dettaglio e a volte fate fatica a prendere una decisione perché ogni problema deve essere approfondito e sviscerato. Siete sicuri di voi stessi e difficilmente ascoltate le opinioni altrui.</a:t>
            </a:r>
          </a:p>
          <a:p>
            <a:endParaRPr lang="it-IT" dirty="0">
              <a:latin typeface="+mj-lt"/>
            </a:endParaRPr>
          </a:p>
          <a:p>
            <a:r>
              <a:rPr lang="it-IT" b="1" dirty="0">
                <a:latin typeface="+mj-lt"/>
              </a:rPr>
              <a:t>ANATRA</a:t>
            </a:r>
          </a:p>
          <a:p>
            <a:r>
              <a:rPr lang="it-IT" dirty="0">
                <a:latin typeface="+mj-lt"/>
              </a:rPr>
              <a:t>il vostro emisfero destro è quello dominante. Siete creativi e vi affidate spesso al vostro istinto quando si tratta di prendere una decisione importante. Siete emotivi e spontanei. Vi piace lasciarvi andare in viaggi di fantasia ma avete problemi a rimanere con i piedi per terra.</a:t>
            </a:r>
          </a:p>
          <a:p>
            <a:endParaRPr lang="it-IT" sz="1200" dirty="0">
              <a:latin typeface="+mj-lt"/>
            </a:endParaRPr>
          </a:p>
        </p:txBody>
      </p:sp>
    </p:spTree>
    <p:extLst>
      <p:ext uri="{BB962C8B-B14F-4D97-AF65-F5344CB8AC3E}">
        <p14:creationId xmlns:p14="http://schemas.microsoft.com/office/powerpoint/2010/main" val="27539639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MSFT_04_Education">
      <a:dk1>
        <a:sysClr val="windowText" lastClr="000000"/>
      </a:dk1>
      <a:lt1>
        <a:sysClr val="window" lastClr="FFFFFF"/>
      </a:lt1>
      <a:dk2>
        <a:srgbClr val="44546A"/>
      </a:dk2>
      <a:lt2>
        <a:srgbClr val="E7E6E6"/>
      </a:lt2>
      <a:accent1>
        <a:srgbClr val="B2606E"/>
      </a:accent1>
      <a:accent2>
        <a:srgbClr val="0F3955"/>
      </a:accent2>
      <a:accent3>
        <a:srgbClr val="FFC000"/>
      </a:accent3>
      <a:accent4>
        <a:srgbClr val="BF678E"/>
      </a:accent4>
      <a:accent5>
        <a:srgbClr val="731F1C"/>
      </a:accent5>
      <a:accent6>
        <a:srgbClr val="7A9E56"/>
      </a:accent6>
      <a:hlink>
        <a:srgbClr val="00B0F0"/>
      </a:hlink>
      <a:folHlink>
        <a:srgbClr val="595959"/>
      </a:folHlink>
    </a:clrScheme>
    <a:fontScheme name="MSFT_04_Education">
      <a:majorFont>
        <a:latin typeface="Corbel"/>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_61154840_TF00475556_Win32" id="{09B89C78-072E-46A9-BEC3-B0EAC30776C4}" vid="{FD139930-29BB-4F13-B951-9BE4493E5D98}"/>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sentazione didattica</Template>
  <TotalTime>0</TotalTime>
  <Words>3361</Words>
  <Application>Microsoft Office PowerPoint</Application>
  <PresentationFormat>Widescreen</PresentationFormat>
  <Paragraphs>348</Paragraphs>
  <Slides>47</Slides>
  <Notes>36</Notes>
  <HiddenSlides>0</HiddenSlides>
  <MMClips>1</MMClips>
  <ScaleCrop>false</ScaleCrop>
  <HeadingPairs>
    <vt:vector size="8" baseType="variant">
      <vt:variant>
        <vt:lpstr>Caratteri utilizzati</vt:lpstr>
      </vt:variant>
      <vt:variant>
        <vt:i4>8</vt:i4>
      </vt:variant>
      <vt:variant>
        <vt:lpstr>Tema</vt:lpstr>
      </vt:variant>
      <vt:variant>
        <vt:i4>1</vt:i4>
      </vt:variant>
      <vt:variant>
        <vt:lpstr>Server OLE incorporati</vt:lpstr>
      </vt:variant>
      <vt:variant>
        <vt:i4>1</vt:i4>
      </vt:variant>
      <vt:variant>
        <vt:lpstr>Titoli diapositive</vt:lpstr>
      </vt:variant>
      <vt:variant>
        <vt:i4>47</vt:i4>
      </vt:variant>
    </vt:vector>
  </HeadingPairs>
  <TitlesOfParts>
    <vt:vector size="57" baseType="lpstr">
      <vt:lpstr>-apple-system</vt:lpstr>
      <vt:lpstr>Arial</vt:lpstr>
      <vt:lpstr>Arial MT</vt:lpstr>
      <vt:lpstr>Avenir Next LT Pro Light</vt:lpstr>
      <vt:lpstr>Calibri</vt:lpstr>
      <vt:lpstr>Calibri Light</vt:lpstr>
      <vt:lpstr>Corbel</vt:lpstr>
      <vt:lpstr>Courier New</vt:lpstr>
      <vt:lpstr>Tema di Office</vt:lpstr>
      <vt:lpstr>Diapositiva think-cell</vt:lpstr>
      <vt:lpstr>Sperimentazione didattica e modelli di riferimento a confronto: uno sguardo intorno al mondo</vt:lpstr>
      <vt:lpstr>Percorso di sperimentazione didattica</vt:lpstr>
      <vt:lpstr>1. Formarsi per sperimentare</vt:lpstr>
      <vt:lpstr>Che tipo di formazione siamo chiamati a progettare?</vt:lpstr>
      <vt:lpstr>2. I 7 elementi della didattica innovativa</vt:lpstr>
      <vt:lpstr>Presentazione standard di PowerPoint</vt:lpstr>
      <vt:lpstr>Qual è la tua idea di didattica?  Che differenza fra idea e progetto?</vt:lpstr>
      <vt:lpstr>  Cosa ti fa venire in mente il termine «Sperimentazione»? </vt:lpstr>
      <vt:lpstr>Presentazione standard di PowerPoint</vt:lpstr>
      <vt:lpstr>Presentazione standard di PowerPoint</vt:lpstr>
      <vt:lpstr>Il Progetto è Esperienza</vt:lpstr>
      <vt:lpstr>Attività che favoriscono il flow</vt:lpstr>
      <vt:lpstr>  Cosa ti fa venire in mente il termine «Sperimentazione»? </vt:lpstr>
      <vt:lpstr>Sperimentare è… rimettersi in gioco</vt:lpstr>
      <vt:lpstr>4. La gestione del progetto</vt:lpstr>
      <vt:lpstr>Presentazione standard di PowerPoint</vt:lpstr>
      <vt:lpstr>1. Definire</vt:lpstr>
      <vt:lpstr>Presentazione standard di PowerPoint</vt:lpstr>
      <vt:lpstr>Presentazione standard di PowerPoint</vt:lpstr>
      <vt:lpstr>Presentazione standard di PowerPoint</vt:lpstr>
      <vt:lpstr>2. Misurare</vt:lpstr>
      <vt:lpstr>Presentazione standard di PowerPoint</vt:lpstr>
      <vt:lpstr>3. Analizzare</vt:lpstr>
      <vt:lpstr>Presentazione standard di PowerPoint</vt:lpstr>
      <vt:lpstr>4. Implementare e monitorare</vt:lpstr>
      <vt:lpstr>Presentazione standard di PowerPoint</vt:lpstr>
      <vt:lpstr>5. Controllare e chiudere</vt:lpstr>
      <vt:lpstr>Presentazione standard di PowerPoint</vt:lpstr>
      <vt:lpstr>5. Ricerca-azione</vt:lpstr>
      <vt:lpstr>La ricerca-azione</vt:lpstr>
      <vt:lpstr>Il metodo della ricerca-azione</vt:lpstr>
      <vt:lpstr>Abbandonare traiettorie predefinite e  RICERCARE la strada</vt:lpstr>
      <vt:lpstr>Aspetti qualificanti della ricerca-azione</vt:lpstr>
      <vt:lpstr>6. Qualità delle iniziative formative</vt:lpstr>
      <vt:lpstr>La Checklist per la qualità delle iniziative formative sono uno strumento per progettare  La Checklist per la qualità delle iniziative formative rappresenta un punto di partenza per misurare l’efficacia della formazione attraverso più strumenti (griglie di monitoraggio di  efficacia, questionari di gradimento, focus group, ecc.).  Questi strumenti saranno applicati sia alla misurazione dell’andamento della formazione nei territori (es. ambiti e contesti  regionali), sia per il monitoraggio granulare delle azioni formative.  Perché allora non servirsi della Checklist per migliorare la progettazione delle attività, soprattutto della parte relativa alla qualità metodologica? </vt:lpstr>
      <vt:lpstr>1. Qualità del coinvolgimento</vt:lpstr>
      <vt:lpstr>2. Qualità metodologica</vt:lpstr>
      <vt:lpstr>3. Qualità dell’impatto</vt:lpstr>
      <vt:lpstr>4. Qualità della trasferibilità e della diffusione</vt:lpstr>
      <vt:lpstr>Biblioteca delle migliori attività  formative  La biblioteca, curata e manutenuta da INDIRE, sarà alimentata da alcune delle migliori pratiche già condotte nel nostro sistema negli anni precedenti a questo Piano, e sarà popolata da una raccolta scientificamente argomentata dei migliori progetti formativi all’interno dei Piani  nazionali e delle attività organizzate dagli ambiti, da risorse italiane  ed internazionali utili  alla formazione  continua degli insegnanti.  il MIUR, con il sostegno di INDIRE, raccoglierà “dal basso”, attraverso le  indicazioni ricevute dalle azioni formative organizzate dalle scuole in rete e dai  piani nazionali che la stessa amministrazione metterà in campo, una banca dati  dei migliori formatori.  La banca dati utilizzerà un format unico di raccolta, adattabile ad ogni contesto  formativo, e conterrà sia indicazioni di carattere professionale (basati sull’esperienza documentata già svolta, sul curriculum formativo e professionale, e  sulla partecipazione attiva in comunità professionali nel contesto della scuola,  ecc.) che valutazioni restituite dalle scuole per i percorsi formativi in cui il  formatore è stato coinvolto.   </vt:lpstr>
      <vt:lpstr>Percorso di sperimentazione didattica</vt:lpstr>
      <vt:lpstr>Grazie per l’attenzione stefania.morsanuto@unipegaso.it https://www.ojs.gsdjournal.it </vt:lpstr>
      <vt:lpstr>Backup</vt:lpstr>
      <vt:lpstr>5. Le Unità formative</vt:lpstr>
      <vt:lpstr>Unità formative. Aspetti qualitativi</vt:lpstr>
      <vt:lpstr>Unità formative. Aspetti quantitativi</vt:lpstr>
      <vt:lpstr>Esempio di Struttura dell’Unità formativa</vt:lpstr>
    </vt:vector>
  </TitlesOfParts>
  <Company>Recordati S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perimentazione didattica e modelli di riferimento a confronto: uno sguardo intorno al mondo</dc:title>
  <dc:creator>Andrea Zanchetta</dc:creator>
  <cp:lastModifiedBy>Stefania Morsanuto</cp:lastModifiedBy>
  <cp:revision>80</cp:revision>
  <dcterms:created xsi:type="dcterms:W3CDTF">2023-07-16T16:12:16Z</dcterms:created>
  <dcterms:modified xsi:type="dcterms:W3CDTF">2023-07-25T09:21:13Z</dcterms:modified>
</cp:coreProperties>
</file>